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Override2.xml" ContentType="application/vnd.openxmlformats-officedocument.themeOverrid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3.xml" ContentType="application/vnd.openxmlformats-officedocument.themeOverrid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3788" r:id="rId4"/>
    <p:sldMasterId id="2147483813" r:id="rId5"/>
    <p:sldMasterId id="2147483838" r:id="rId6"/>
  </p:sldMasterIdLst>
  <p:notesMasterIdLst>
    <p:notesMasterId r:id="rId27"/>
  </p:notesMasterIdLst>
  <p:handoutMasterIdLst>
    <p:handoutMasterId r:id="rId28"/>
  </p:handoutMasterIdLst>
  <p:sldIdLst>
    <p:sldId id="480" r:id="rId7"/>
    <p:sldId id="490" r:id="rId8"/>
    <p:sldId id="477" r:id="rId9"/>
    <p:sldId id="400" r:id="rId10"/>
    <p:sldId id="491" r:id="rId11"/>
    <p:sldId id="492" r:id="rId12"/>
    <p:sldId id="493" r:id="rId13"/>
    <p:sldId id="494" r:id="rId14"/>
    <p:sldId id="495" r:id="rId15"/>
    <p:sldId id="496" r:id="rId16"/>
    <p:sldId id="497" r:id="rId17"/>
    <p:sldId id="498" r:id="rId18"/>
    <p:sldId id="499" r:id="rId19"/>
    <p:sldId id="500" r:id="rId20"/>
    <p:sldId id="503" r:id="rId21"/>
    <p:sldId id="504" r:id="rId22"/>
    <p:sldId id="505" r:id="rId23"/>
    <p:sldId id="502" r:id="rId24"/>
    <p:sldId id="501" r:id="rId25"/>
    <p:sldId id="473" r:id="rId26"/>
  </p:sldIdLst>
  <p:sldSz cx="9144000" cy="6858000" type="screen4x3"/>
  <p:notesSz cx="6797675" cy="9926638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226" userDrawn="1">
          <p15:clr>
            <a:srgbClr val="A4A3A4"/>
          </p15:clr>
        </p15:guide>
        <p15:guide id="12" pos="5511" userDrawn="1">
          <p15:clr>
            <a:srgbClr val="A4A3A4"/>
          </p15:clr>
        </p15:guide>
        <p15:guide id="13" orient="horz" pos="1049" userDrawn="1">
          <p15:clr>
            <a:srgbClr val="A4A3A4"/>
          </p15:clr>
        </p15:guide>
        <p15:guide id="14" orient="horz" pos="4020" userDrawn="1">
          <p15:clr>
            <a:srgbClr val="A4A3A4"/>
          </p15:clr>
        </p15:guide>
        <p15:guide id="15" orient="horz" pos="187" userDrawn="1">
          <p15:clr>
            <a:srgbClr val="A4A3A4"/>
          </p15:clr>
        </p15:guide>
        <p15:guide id="16" orient="horz" pos="86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chy, Petr (CZ - Prague)" initials="SP(-P" lastIdx="8" clrIdx="0">
    <p:extLst>
      <p:ext uri="{19B8F6BF-5375-455C-9EA6-DF929625EA0E}">
        <p15:presenceInfo xmlns:p15="http://schemas.microsoft.com/office/powerpoint/2012/main" userId="S-1-5-21-2094927150-201071529-617630493-781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B323"/>
    <a:srgbClr val="000000"/>
    <a:srgbClr val="FFCD00"/>
    <a:srgbClr val="ED8B00"/>
    <a:srgbClr val="DB291C"/>
    <a:srgbClr val="FF9900"/>
    <a:srgbClr val="C00000"/>
    <a:srgbClr val="3C8A2E"/>
    <a:srgbClr val="DCDCDC"/>
    <a:srgbClr val="B4B4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0334E6C-0B5D-42B0-B441-FDD8C6F1F7B5}" v="1" dt="2022-02-20T15:15:43.3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27" autoAdjust="0"/>
    <p:restoredTop sz="95000" autoAdjust="0"/>
  </p:normalViewPr>
  <p:slideViewPr>
    <p:cSldViewPr snapToGrid="0" showGuides="1">
      <p:cViewPr varScale="1">
        <p:scale>
          <a:sx n="101" d="100"/>
          <a:sy n="101" d="100"/>
        </p:scale>
        <p:origin x="1686" y="114"/>
      </p:cViewPr>
      <p:guideLst>
        <p:guide pos="226"/>
        <p:guide pos="5511"/>
        <p:guide orient="horz" pos="1049"/>
        <p:guide orient="horz" pos="4020"/>
        <p:guide orient="horz" pos="187"/>
        <p:guide orient="horz" pos="867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35" Type="http://schemas.microsoft.com/office/2015/10/relationships/revisionInfo" Target="revisionInfo.xml"/><Relationship Id="rId8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7AF0873-654F-4510-AB3A-6BCD089DABC3}" type="doc">
      <dgm:prSet loTypeId="urn:microsoft.com/office/officeart/2005/8/layout/process5" loCatId="process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cs-CZ"/>
        </a:p>
      </dgm:t>
    </dgm:pt>
    <dgm:pt modelId="{828DDA33-30BE-4304-96ED-9AEB1F2D1440}">
      <dgm:prSet phldrT="[Text]"/>
      <dgm:spPr>
        <a:noFill/>
      </dgm:spPr>
      <dgm:t>
        <a:bodyPr/>
        <a:lstStyle/>
        <a:p>
          <a:r>
            <a:rPr lang="cs-CZ" b="1" dirty="0">
              <a:solidFill>
                <a:schemeClr val="tx1"/>
              </a:solidFill>
            </a:rPr>
            <a:t>Příprava a zahájení procesu</a:t>
          </a:r>
        </a:p>
      </dgm:t>
    </dgm:pt>
    <dgm:pt modelId="{9889BE34-551F-47E7-AC0E-AA0FEE0F020E}" type="parTrans" cxnId="{804E70A9-EA36-491E-B04B-ACF29D2FBDE3}">
      <dgm:prSet/>
      <dgm:spPr/>
      <dgm:t>
        <a:bodyPr/>
        <a:lstStyle/>
        <a:p>
          <a:endParaRPr lang="cs-CZ"/>
        </a:p>
      </dgm:t>
    </dgm:pt>
    <dgm:pt modelId="{E05485B6-08D1-4577-8682-F888C3815FF3}" type="sibTrans" cxnId="{804E70A9-EA36-491E-B04B-ACF29D2FBDE3}">
      <dgm:prSet/>
      <dgm:spPr/>
      <dgm:t>
        <a:bodyPr/>
        <a:lstStyle/>
        <a:p>
          <a:endParaRPr lang="cs-CZ" b="0"/>
        </a:p>
      </dgm:t>
    </dgm:pt>
    <dgm:pt modelId="{0341CAE2-BF61-4125-A2D2-50B7A2DFB1AF}">
      <dgm:prSet phldrT="[Text]"/>
      <dgm:spPr/>
      <dgm:t>
        <a:bodyPr/>
        <a:lstStyle/>
        <a:p>
          <a:r>
            <a:rPr lang="cs-CZ" b="1" dirty="0"/>
            <a:t>Vyjádření zájmu</a:t>
          </a:r>
        </a:p>
      </dgm:t>
    </dgm:pt>
    <dgm:pt modelId="{81B57D60-3280-41DE-BB06-F8CC6ECB26E4}" type="parTrans" cxnId="{427BF72B-8F13-48F0-96C0-CC168F2D96E1}">
      <dgm:prSet/>
      <dgm:spPr/>
      <dgm:t>
        <a:bodyPr/>
        <a:lstStyle/>
        <a:p>
          <a:endParaRPr lang="cs-CZ"/>
        </a:p>
      </dgm:t>
    </dgm:pt>
    <dgm:pt modelId="{45A0EDDB-61F2-45A5-AF24-1B927586809F}" type="sibTrans" cxnId="{427BF72B-8F13-48F0-96C0-CC168F2D96E1}">
      <dgm:prSet/>
      <dgm:spPr/>
      <dgm:t>
        <a:bodyPr/>
        <a:lstStyle/>
        <a:p>
          <a:endParaRPr lang="cs-CZ" b="0"/>
        </a:p>
      </dgm:t>
    </dgm:pt>
    <dgm:pt modelId="{47EE3148-0776-456F-9F1A-F35C6A434C88}">
      <dgm:prSet phldrT="[Text]"/>
      <dgm:spPr/>
      <dgm:t>
        <a:bodyPr/>
        <a:lstStyle/>
        <a:p>
          <a:r>
            <a:rPr lang="cs-CZ" b="1" dirty="0" err="1"/>
            <a:t>Due</a:t>
          </a:r>
          <a:r>
            <a:rPr lang="cs-CZ" b="1" dirty="0"/>
            <a:t> Diligence (Data </a:t>
          </a:r>
          <a:r>
            <a:rPr lang="cs-CZ" b="1" dirty="0" err="1"/>
            <a:t>Room</a:t>
          </a:r>
          <a:r>
            <a:rPr lang="cs-CZ" b="1" dirty="0"/>
            <a:t>)</a:t>
          </a:r>
          <a:endParaRPr lang="cs-CZ" b="0" i="1" dirty="0"/>
        </a:p>
      </dgm:t>
    </dgm:pt>
    <dgm:pt modelId="{FD253779-7136-45DA-BE4D-46BB0CC7C935}" type="parTrans" cxnId="{897E43D7-93FE-4C90-9682-63EC0B81F7F6}">
      <dgm:prSet/>
      <dgm:spPr/>
      <dgm:t>
        <a:bodyPr/>
        <a:lstStyle/>
        <a:p>
          <a:endParaRPr lang="cs-CZ"/>
        </a:p>
      </dgm:t>
    </dgm:pt>
    <dgm:pt modelId="{C63C4564-8E39-4EA2-BEBF-D5DE288C243E}" type="sibTrans" cxnId="{897E43D7-93FE-4C90-9682-63EC0B81F7F6}">
      <dgm:prSet/>
      <dgm:spPr/>
      <dgm:t>
        <a:bodyPr/>
        <a:lstStyle/>
        <a:p>
          <a:endParaRPr lang="cs-CZ" b="0"/>
        </a:p>
      </dgm:t>
    </dgm:pt>
    <dgm:pt modelId="{E36F3098-A487-4F3C-9358-D52BB6453AE9}">
      <dgm:prSet phldrT="[Text]"/>
      <dgm:spPr/>
      <dgm:t>
        <a:bodyPr/>
        <a:lstStyle/>
        <a:p>
          <a:r>
            <a:rPr lang="cs-CZ" b="1" dirty="0"/>
            <a:t>Návrh kupní smlouvy (</a:t>
          </a:r>
          <a:r>
            <a:rPr lang="cs-CZ" b="1" dirty="0" err="1"/>
            <a:t>SPA</a:t>
          </a:r>
          <a:r>
            <a:rPr lang="cs-CZ" b="1" dirty="0"/>
            <a:t>) </a:t>
          </a:r>
        </a:p>
        <a:p>
          <a:r>
            <a:rPr lang="cs-CZ" b="1" dirty="0"/>
            <a:t>- prodávající</a:t>
          </a:r>
          <a:endParaRPr lang="cs-CZ" b="1" i="0" dirty="0"/>
        </a:p>
      </dgm:t>
    </dgm:pt>
    <dgm:pt modelId="{9696FCA6-6BFA-4740-AE3B-083B50C6A2D7}" type="parTrans" cxnId="{DE37A468-AE50-49A7-BCB3-297A95A94BD3}">
      <dgm:prSet/>
      <dgm:spPr/>
      <dgm:t>
        <a:bodyPr/>
        <a:lstStyle/>
        <a:p>
          <a:endParaRPr lang="cs-CZ"/>
        </a:p>
      </dgm:t>
    </dgm:pt>
    <dgm:pt modelId="{CA084B63-C96F-4D82-BB5B-8CE34F4C5753}" type="sibTrans" cxnId="{DE37A468-AE50-49A7-BCB3-297A95A94BD3}">
      <dgm:prSet/>
      <dgm:spPr/>
      <dgm:t>
        <a:bodyPr/>
        <a:lstStyle/>
        <a:p>
          <a:endParaRPr lang="cs-CZ" b="0"/>
        </a:p>
      </dgm:t>
    </dgm:pt>
    <dgm:pt modelId="{12574AEE-5EC3-43F0-A290-DD626A6A3D2A}">
      <dgm:prSet phldrT="[Text]"/>
      <dgm:spPr/>
      <dgm:t>
        <a:bodyPr/>
        <a:lstStyle/>
        <a:p>
          <a:r>
            <a:rPr lang="cs-CZ" b="1" i="0" dirty="0"/>
            <a:t>„závazné“ nabídky zájemce/</a:t>
          </a:r>
          <a:r>
            <a:rPr lang="cs-CZ" b="1" i="0" dirty="0" err="1"/>
            <a:t>ců</a:t>
          </a:r>
          <a:endParaRPr lang="cs-CZ" b="1" dirty="0"/>
        </a:p>
      </dgm:t>
    </dgm:pt>
    <dgm:pt modelId="{3A0F5F3C-2717-4680-9785-411A3E5497D8}" type="parTrans" cxnId="{8A54F515-F373-445E-85BA-DB1B00DF4289}">
      <dgm:prSet/>
      <dgm:spPr/>
      <dgm:t>
        <a:bodyPr/>
        <a:lstStyle/>
        <a:p>
          <a:endParaRPr lang="cs-CZ"/>
        </a:p>
      </dgm:t>
    </dgm:pt>
    <dgm:pt modelId="{55D46958-042F-4551-954D-3312B70F3054}" type="sibTrans" cxnId="{8A54F515-F373-445E-85BA-DB1B00DF4289}">
      <dgm:prSet/>
      <dgm:spPr/>
      <dgm:t>
        <a:bodyPr/>
        <a:lstStyle/>
        <a:p>
          <a:endParaRPr lang="cs-CZ" b="0"/>
        </a:p>
      </dgm:t>
    </dgm:pt>
    <dgm:pt modelId="{6CFB25D3-8C64-4BEA-9B7A-C8ECD1D5AAC7}">
      <dgm:prSet phldrT="[Text]"/>
      <dgm:spPr/>
      <dgm:t>
        <a:bodyPr/>
        <a:lstStyle/>
        <a:p>
          <a:r>
            <a:rPr lang="cs-CZ" b="1" dirty="0" err="1"/>
            <a:t>Shortlist</a:t>
          </a:r>
          <a:r>
            <a:rPr lang="cs-CZ" b="1" dirty="0"/>
            <a:t> (další kolo nabídek)</a:t>
          </a:r>
        </a:p>
      </dgm:t>
    </dgm:pt>
    <dgm:pt modelId="{7B535D39-084B-475A-BD2B-95C5706F2DEA}" type="parTrans" cxnId="{E490F33F-9DF3-4114-9481-E785DEB28ECD}">
      <dgm:prSet/>
      <dgm:spPr/>
      <dgm:t>
        <a:bodyPr/>
        <a:lstStyle/>
        <a:p>
          <a:endParaRPr lang="cs-CZ"/>
        </a:p>
      </dgm:t>
    </dgm:pt>
    <dgm:pt modelId="{E0C8D7CD-B0EE-41BC-922C-EAFC18EBC08D}" type="sibTrans" cxnId="{E490F33F-9DF3-4114-9481-E785DEB28ECD}">
      <dgm:prSet/>
      <dgm:spPr/>
      <dgm:t>
        <a:bodyPr/>
        <a:lstStyle/>
        <a:p>
          <a:endParaRPr lang="cs-CZ" b="0"/>
        </a:p>
      </dgm:t>
    </dgm:pt>
    <dgm:pt modelId="{5404560D-1EFB-4624-945D-4DD8989990AA}">
      <dgm:prSet phldrT="[Text]"/>
      <dgm:spPr/>
      <dgm:t>
        <a:bodyPr/>
        <a:lstStyle/>
        <a:p>
          <a:r>
            <a:rPr lang="cs-CZ" b="1" i="0" dirty="0"/>
            <a:t>Vypořádání (</a:t>
          </a:r>
          <a:r>
            <a:rPr lang="cs-CZ" b="1" i="0" dirty="0" err="1"/>
            <a:t>Closing</a:t>
          </a:r>
          <a:r>
            <a:rPr lang="cs-CZ" b="1" i="0" dirty="0"/>
            <a:t>)</a:t>
          </a:r>
        </a:p>
      </dgm:t>
    </dgm:pt>
    <dgm:pt modelId="{A6F9399C-F054-42CD-AF06-B73D12F69D7A}" type="parTrans" cxnId="{637455A0-BCEF-4CC8-AA16-4A2F403EF6B6}">
      <dgm:prSet/>
      <dgm:spPr/>
      <dgm:t>
        <a:bodyPr/>
        <a:lstStyle/>
        <a:p>
          <a:endParaRPr lang="cs-CZ"/>
        </a:p>
      </dgm:t>
    </dgm:pt>
    <dgm:pt modelId="{B3305FBD-2A98-4A5D-9448-5B552679D00A}" type="sibTrans" cxnId="{637455A0-BCEF-4CC8-AA16-4A2F403EF6B6}">
      <dgm:prSet/>
      <dgm:spPr/>
      <dgm:t>
        <a:bodyPr/>
        <a:lstStyle/>
        <a:p>
          <a:endParaRPr lang="cs-CZ" b="0"/>
        </a:p>
      </dgm:t>
    </dgm:pt>
    <dgm:pt modelId="{44BCA2F7-4DFE-40B0-BF36-395295EDAF37}">
      <dgm:prSet phldrT="[Text]"/>
      <dgm:spPr/>
      <dgm:t>
        <a:bodyPr/>
        <a:lstStyle/>
        <a:p>
          <a:r>
            <a:rPr lang="cs-CZ" b="1" i="0" dirty="0"/>
            <a:t>Úpravy ceny / </a:t>
          </a:r>
          <a:r>
            <a:rPr lang="cs-CZ" b="1" i="0" dirty="0" err="1"/>
            <a:t>Closing</a:t>
          </a:r>
          <a:r>
            <a:rPr lang="cs-CZ" b="1" i="0" dirty="0"/>
            <a:t> </a:t>
          </a:r>
          <a:r>
            <a:rPr lang="cs-CZ" b="1" i="0" dirty="0" err="1"/>
            <a:t>Accounts</a:t>
          </a:r>
          <a:endParaRPr lang="cs-CZ" b="1" i="0" dirty="0"/>
        </a:p>
      </dgm:t>
    </dgm:pt>
    <dgm:pt modelId="{234B0C10-ADBC-4532-939F-A8C683BC36CE}" type="parTrans" cxnId="{6D7D6F01-4333-4756-8396-7FC49A3670C0}">
      <dgm:prSet/>
      <dgm:spPr/>
      <dgm:t>
        <a:bodyPr/>
        <a:lstStyle/>
        <a:p>
          <a:endParaRPr lang="cs-CZ"/>
        </a:p>
      </dgm:t>
    </dgm:pt>
    <dgm:pt modelId="{1A483732-DEE2-49AC-8401-AC4547915754}" type="sibTrans" cxnId="{6D7D6F01-4333-4756-8396-7FC49A3670C0}">
      <dgm:prSet/>
      <dgm:spPr/>
      <dgm:t>
        <a:bodyPr/>
        <a:lstStyle/>
        <a:p>
          <a:endParaRPr lang="cs-CZ" b="0"/>
        </a:p>
      </dgm:t>
    </dgm:pt>
    <dgm:pt modelId="{553D5A18-350A-4DE4-801A-BA63244DF558}">
      <dgm:prSet phldrT="[Text]"/>
      <dgm:spPr>
        <a:noFill/>
      </dgm:spPr>
      <dgm:t>
        <a:bodyPr/>
        <a:lstStyle/>
        <a:p>
          <a:r>
            <a:rPr lang="cs-CZ" b="1" i="0" dirty="0"/>
            <a:t>Následné podmínky / </a:t>
          </a:r>
          <a:r>
            <a:rPr lang="cs-CZ" b="1" i="0" dirty="0" err="1"/>
            <a:t>CSs</a:t>
          </a:r>
          <a:endParaRPr lang="cs-CZ" b="1" i="0" dirty="0"/>
        </a:p>
      </dgm:t>
    </dgm:pt>
    <dgm:pt modelId="{F04A867C-C9DF-4817-B7C1-5ADA3A0294E9}" type="parTrans" cxnId="{D8A83B5A-B7FD-4E95-96C6-CDEAEE73EBDA}">
      <dgm:prSet/>
      <dgm:spPr/>
      <dgm:t>
        <a:bodyPr/>
        <a:lstStyle/>
        <a:p>
          <a:endParaRPr lang="cs-CZ"/>
        </a:p>
      </dgm:t>
    </dgm:pt>
    <dgm:pt modelId="{A03E3999-B985-4024-BAA2-419DE862652E}" type="sibTrans" cxnId="{D8A83B5A-B7FD-4E95-96C6-CDEAEE73EBDA}">
      <dgm:prSet/>
      <dgm:spPr/>
      <dgm:t>
        <a:bodyPr/>
        <a:lstStyle/>
        <a:p>
          <a:endParaRPr lang="cs-CZ"/>
        </a:p>
      </dgm:t>
    </dgm:pt>
    <dgm:pt modelId="{038ACFA8-6696-43DC-899D-088F7FC66C29}">
      <dgm:prSet/>
      <dgm:spPr/>
      <dgm:t>
        <a:bodyPr/>
        <a:lstStyle/>
        <a:p>
          <a:r>
            <a:rPr lang="cs-CZ" b="1" dirty="0" err="1"/>
            <a:t>Teaser</a:t>
          </a:r>
          <a:endParaRPr lang="cs-CZ" b="1" dirty="0"/>
        </a:p>
      </dgm:t>
    </dgm:pt>
    <dgm:pt modelId="{23EED50F-5125-4E38-9277-485AA98FCA23}" type="parTrans" cxnId="{C088EA08-4890-4D98-8759-AE03100871AF}">
      <dgm:prSet/>
      <dgm:spPr/>
      <dgm:t>
        <a:bodyPr/>
        <a:lstStyle/>
        <a:p>
          <a:endParaRPr lang="cs-CZ"/>
        </a:p>
      </dgm:t>
    </dgm:pt>
    <dgm:pt modelId="{6AB55C8A-DBA9-4D38-8478-835B489DDB00}" type="sibTrans" cxnId="{C088EA08-4890-4D98-8759-AE03100871AF}">
      <dgm:prSet/>
      <dgm:spPr/>
      <dgm:t>
        <a:bodyPr/>
        <a:lstStyle/>
        <a:p>
          <a:endParaRPr lang="cs-CZ"/>
        </a:p>
      </dgm:t>
    </dgm:pt>
    <dgm:pt modelId="{89CBCCFC-6C22-4178-B8E1-81BF7B748E76}">
      <dgm:prSet/>
      <dgm:spPr/>
      <dgm:t>
        <a:bodyPr/>
        <a:lstStyle/>
        <a:p>
          <a:r>
            <a:rPr lang="cs-CZ" b="1" dirty="0"/>
            <a:t>Vyhledání a oslovení zájemce/</a:t>
          </a:r>
          <a:r>
            <a:rPr lang="cs-CZ" b="1" dirty="0" err="1"/>
            <a:t>ců</a:t>
          </a:r>
          <a:endParaRPr lang="cs-CZ" b="1" dirty="0"/>
        </a:p>
      </dgm:t>
    </dgm:pt>
    <dgm:pt modelId="{A0D5F88D-1DB9-4233-A2EF-82F593464D50}" type="parTrans" cxnId="{B1400948-C942-4F42-BD14-199378937220}">
      <dgm:prSet/>
      <dgm:spPr/>
      <dgm:t>
        <a:bodyPr/>
        <a:lstStyle/>
        <a:p>
          <a:endParaRPr lang="cs-CZ"/>
        </a:p>
      </dgm:t>
    </dgm:pt>
    <dgm:pt modelId="{D65FE824-26ED-4D52-961F-7E457BF69F6F}" type="sibTrans" cxnId="{B1400948-C942-4F42-BD14-199378937220}">
      <dgm:prSet/>
      <dgm:spPr/>
      <dgm:t>
        <a:bodyPr/>
        <a:lstStyle/>
        <a:p>
          <a:endParaRPr lang="cs-CZ"/>
        </a:p>
      </dgm:t>
    </dgm:pt>
    <dgm:pt modelId="{CD1244F4-66CB-4D8B-9E9B-AE3EB96C182A}">
      <dgm:prSet phldrT="[Text]"/>
      <dgm:spPr>
        <a:solidFill>
          <a:srgbClr val="FF0000"/>
        </a:solidFill>
      </dgm:spPr>
      <dgm:t>
        <a:bodyPr/>
        <a:lstStyle/>
        <a:p>
          <a:r>
            <a:rPr lang="cs-CZ" b="1" dirty="0"/>
            <a:t>Dohoda o mlčenlivosti (</a:t>
          </a:r>
          <a:r>
            <a:rPr lang="cs-CZ" b="1" dirty="0" err="1"/>
            <a:t>NDA</a:t>
          </a:r>
          <a:r>
            <a:rPr lang="cs-CZ" b="1" dirty="0"/>
            <a:t>)</a:t>
          </a:r>
        </a:p>
      </dgm:t>
    </dgm:pt>
    <dgm:pt modelId="{90834F6D-9528-41EE-8FC9-5D8C5006376C}" type="parTrans" cxnId="{6DAB374B-6E26-450D-BEBE-97495456D143}">
      <dgm:prSet/>
      <dgm:spPr/>
      <dgm:t>
        <a:bodyPr/>
        <a:lstStyle/>
        <a:p>
          <a:endParaRPr lang="cs-CZ"/>
        </a:p>
      </dgm:t>
    </dgm:pt>
    <dgm:pt modelId="{FC464D58-97C5-47A6-91FD-DB758F23CE4E}" type="sibTrans" cxnId="{6DAB374B-6E26-450D-BEBE-97495456D143}">
      <dgm:prSet/>
      <dgm:spPr/>
      <dgm:t>
        <a:bodyPr/>
        <a:lstStyle/>
        <a:p>
          <a:endParaRPr lang="cs-CZ"/>
        </a:p>
      </dgm:t>
    </dgm:pt>
    <dgm:pt modelId="{083A116A-8B71-4FB5-878D-7FD48B447B40}">
      <dgm:prSet/>
      <dgm:spPr/>
      <dgm:t>
        <a:bodyPr/>
        <a:lstStyle/>
        <a:p>
          <a:r>
            <a:rPr lang="cs-CZ" b="1" dirty="0"/>
            <a:t>Informační Memorandum</a:t>
          </a:r>
        </a:p>
      </dgm:t>
    </dgm:pt>
    <dgm:pt modelId="{504F7A39-417D-40CD-939B-9AAD401AF2F2}" type="parTrans" cxnId="{9859E7B5-966F-4169-9900-671C436A41BF}">
      <dgm:prSet/>
      <dgm:spPr/>
      <dgm:t>
        <a:bodyPr/>
        <a:lstStyle/>
        <a:p>
          <a:endParaRPr lang="cs-CZ"/>
        </a:p>
      </dgm:t>
    </dgm:pt>
    <dgm:pt modelId="{3FC39E48-8331-43A2-AF6A-256B73F47CB1}" type="sibTrans" cxnId="{9859E7B5-966F-4169-9900-671C436A41BF}">
      <dgm:prSet/>
      <dgm:spPr/>
      <dgm:t>
        <a:bodyPr/>
        <a:lstStyle/>
        <a:p>
          <a:endParaRPr lang="cs-CZ"/>
        </a:p>
      </dgm:t>
    </dgm:pt>
    <dgm:pt modelId="{2155DCCE-DB39-4C0C-B406-DC7D030A2E6A}">
      <dgm:prSet/>
      <dgm:spPr/>
      <dgm:t>
        <a:bodyPr/>
        <a:lstStyle/>
        <a:p>
          <a:r>
            <a:rPr lang="cs-CZ" b="1" dirty="0"/>
            <a:t>Management </a:t>
          </a:r>
          <a:r>
            <a:rPr lang="cs-CZ" b="1" dirty="0" err="1"/>
            <a:t>Presentations</a:t>
          </a:r>
          <a:endParaRPr lang="cs-CZ" b="1" dirty="0"/>
        </a:p>
      </dgm:t>
    </dgm:pt>
    <dgm:pt modelId="{98130944-0B55-4255-96E3-3077CF4A71EE}" type="parTrans" cxnId="{90AB698E-FC20-4D29-A75C-58A2F4201556}">
      <dgm:prSet/>
      <dgm:spPr/>
      <dgm:t>
        <a:bodyPr/>
        <a:lstStyle/>
        <a:p>
          <a:endParaRPr lang="cs-CZ"/>
        </a:p>
      </dgm:t>
    </dgm:pt>
    <dgm:pt modelId="{F47361FE-E197-4CD0-A4E9-3132A27B89A5}" type="sibTrans" cxnId="{90AB698E-FC20-4D29-A75C-58A2F4201556}">
      <dgm:prSet/>
      <dgm:spPr/>
      <dgm:t>
        <a:bodyPr/>
        <a:lstStyle/>
        <a:p>
          <a:endParaRPr lang="cs-CZ"/>
        </a:p>
      </dgm:t>
    </dgm:pt>
    <dgm:pt modelId="{93C1800D-0E62-4BB2-ABD2-DA7F876B2756}">
      <dgm:prSet phldrT="[Text]"/>
      <dgm:spPr/>
      <dgm:t>
        <a:bodyPr/>
        <a:lstStyle/>
        <a:p>
          <a:r>
            <a:rPr lang="cs-CZ" b="1" dirty="0"/>
            <a:t>Indikativní (nezávazné) nabídky</a:t>
          </a:r>
        </a:p>
      </dgm:t>
    </dgm:pt>
    <dgm:pt modelId="{10C331F2-582C-4E9E-91FA-998D52E6398E}" type="parTrans" cxnId="{8E3C1204-1061-427E-8D33-329C62E504E2}">
      <dgm:prSet/>
      <dgm:spPr/>
      <dgm:t>
        <a:bodyPr/>
        <a:lstStyle/>
        <a:p>
          <a:endParaRPr lang="cs-CZ"/>
        </a:p>
      </dgm:t>
    </dgm:pt>
    <dgm:pt modelId="{11003004-D867-45DB-B8EC-C4A44486952A}" type="sibTrans" cxnId="{8E3C1204-1061-427E-8D33-329C62E504E2}">
      <dgm:prSet/>
      <dgm:spPr/>
      <dgm:t>
        <a:bodyPr/>
        <a:lstStyle/>
        <a:p>
          <a:endParaRPr lang="cs-CZ"/>
        </a:p>
      </dgm:t>
    </dgm:pt>
    <dgm:pt modelId="{99ADBFAE-BFD6-4EC6-862A-0AD1BE585FA5}">
      <dgm:prSet phldrT="[Text]"/>
      <dgm:spPr/>
      <dgm:t>
        <a:bodyPr/>
        <a:lstStyle/>
        <a:p>
          <a:r>
            <a:rPr lang="cs-CZ" b="1" dirty="0"/>
            <a:t>Jednání, dohoda („</a:t>
          </a:r>
          <a:r>
            <a:rPr lang="cs-CZ" b="1" dirty="0" err="1"/>
            <a:t>Agreed</a:t>
          </a:r>
          <a:r>
            <a:rPr lang="cs-CZ" b="1" dirty="0"/>
            <a:t> </a:t>
          </a:r>
          <a:r>
            <a:rPr lang="cs-CZ" b="1" dirty="0" err="1"/>
            <a:t>form</a:t>
          </a:r>
          <a:r>
            <a:rPr lang="cs-CZ" b="1" dirty="0"/>
            <a:t> </a:t>
          </a:r>
          <a:r>
            <a:rPr lang="cs-CZ" b="1" dirty="0" err="1"/>
            <a:t>SPA</a:t>
          </a:r>
          <a:r>
            <a:rPr lang="cs-CZ" b="1" dirty="0"/>
            <a:t>“)</a:t>
          </a:r>
        </a:p>
      </dgm:t>
    </dgm:pt>
    <dgm:pt modelId="{BCB1D8C4-BBD6-4376-BF98-1ECFDDAB2AC9}" type="parTrans" cxnId="{4FC943E2-C3F8-40A5-863A-9C9DD599D656}">
      <dgm:prSet/>
      <dgm:spPr/>
      <dgm:t>
        <a:bodyPr/>
        <a:lstStyle/>
        <a:p>
          <a:endParaRPr lang="cs-CZ"/>
        </a:p>
      </dgm:t>
    </dgm:pt>
    <dgm:pt modelId="{F97EB4DB-AAAB-405E-AFD2-5BD91C301B50}" type="sibTrans" cxnId="{4FC943E2-C3F8-40A5-863A-9C9DD599D656}">
      <dgm:prSet/>
      <dgm:spPr/>
      <dgm:t>
        <a:bodyPr/>
        <a:lstStyle/>
        <a:p>
          <a:endParaRPr lang="cs-CZ"/>
        </a:p>
      </dgm:t>
    </dgm:pt>
    <dgm:pt modelId="{A188EE17-6569-4849-8482-64537CB36C5B}">
      <dgm:prSet phldrT="[Text]"/>
      <dgm:spPr/>
      <dgm:t>
        <a:bodyPr/>
        <a:lstStyle/>
        <a:p>
          <a:r>
            <a:rPr lang="cs-CZ" b="1" dirty="0"/>
            <a:t>Podpis (</a:t>
          </a:r>
          <a:r>
            <a:rPr lang="cs-CZ" b="1" dirty="0" err="1"/>
            <a:t>Signing</a:t>
          </a:r>
          <a:r>
            <a:rPr lang="cs-CZ" b="1" dirty="0"/>
            <a:t>)</a:t>
          </a:r>
          <a:endParaRPr lang="cs-CZ" b="0" i="1" dirty="0"/>
        </a:p>
      </dgm:t>
    </dgm:pt>
    <dgm:pt modelId="{6BEB942D-751A-4204-8E41-53C894ADD3AE}" type="parTrans" cxnId="{F694600F-0DF1-4776-BB10-E5F83D5B3DB8}">
      <dgm:prSet/>
      <dgm:spPr/>
      <dgm:t>
        <a:bodyPr/>
        <a:lstStyle/>
        <a:p>
          <a:endParaRPr lang="cs-CZ"/>
        </a:p>
      </dgm:t>
    </dgm:pt>
    <dgm:pt modelId="{D5C32E86-9FB6-4CDB-8C95-54A227901A9D}" type="sibTrans" cxnId="{F694600F-0DF1-4776-BB10-E5F83D5B3DB8}">
      <dgm:prSet/>
      <dgm:spPr/>
      <dgm:t>
        <a:bodyPr/>
        <a:lstStyle/>
        <a:p>
          <a:endParaRPr lang="cs-CZ"/>
        </a:p>
      </dgm:t>
    </dgm:pt>
    <dgm:pt modelId="{13527068-A1CA-458F-B588-2D30F318AE6A}">
      <dgm:prSet phldrT="[Text]"/>
      <dgm:spPr/>
      <dgm:t>
        <a:bodyPr/>
        <a:lstStyle/>
        <a:p>
          <a:r>
            <a:rPr lang="cs-CZ" b="1" i="0" dirty="0"/>
            <a:t>Odkládací podmínky / </a:t>
          </a:r>
          <a:r>
            <a:rPr lang="cs-CZ" b="1" i="0" dirty="0" err="1"/>
            <a:t>CPs</a:t>
          </a:r>
          <a:endParaRPr lang="cs-CZ" b="1" i="0" dirty="0"/>
        </a:p>
      </dgm:t>
    </dgm:pt>
    <dgm:pt modelId="{43A47178-86D8-4A4C-8EC6-4F84B75EA0E7}" type="parTrans" cxnId="{D0350935-0E66-4C95-B462-CB6E5AFA8B50}">
      <dgm:prSet/>
      <dgm:spPr/>
      <dgm:t>
        <a:bodyPr/>
        <a:lstStyle/>
        <a:p>
          <a:endParaRPr lang="cs-CZ"/>
        </a:p>
      </dgm:t>
    </dgm:pt>
    <dgm:pt modelId="{3BD8E6D3-DBF4-4F74-B762-27FF01389575}" type="sibTrans" cxnId="{D0350935-0E66-4C95-B462-CB6E5AFA8B50}">
      <dgm:prSet/>
      <dgm:spPr/>
      <dgm:t>
        <a:bodyPr/>
        <a:lstStyle/>
        <a:p>
          <a:endParaRPr lang="cs-CZ"/>
        </a:p>
      </dgm:t>
    </dgm:pt>
    <dgm:pt modelId="{F99436E3-52E6-49C2-8C7E-F4CC2A6B5321}">
      <dgm:prSet/>
      <dgm:spPr/>
      <dgm:t>
        <a:bodyPr/>
        <a:lstStyle/>
        <a:p>
          <a:r>
            <a:rPr lang="cs-CZ" b="1" dirty="0"/>
            <a:t>Vítězná nabídka</a:t>
          </a:r>
        </a:p>
      </dgm:t>
    </dgm:pt>
    <dgm:pt modelId="{7ECDF4AF-3120-4F10-A5B4-6B2BD4DB0699}" type="parTrans" cxnId="{79CB9699-3E03-447F-B116-5408192ABEF9}">
      <dgm:prSet/>
      <dgm:spPr/>
      <dgm:t>
        <a:bodyPr/>
        <a:lstStyle/>
        <a:p>
          <a:endParaRPr lang="cs-CZ"/>
        </a:p>
      </dgm:t>
    </dgm:pt>
    <dgm:pt modelId="{308309F5-7392-4238-BAC1-E686A2E93FB1}" type="sibTrans" cxnId="{79CB9699-3E03-447F-B116-5408192ABEF9}">
      <dgm:prSet/>
      <dgm:spPr/>
      <dgm:t>
        <a:bodyPr/>
        <a:lstStyle/>
        <a:p>
          <a:endParaRPr lang="cs-CZ"/>
        </a:p>
      </dgm:t>
    </dgm:pt>
    <dgm:pt modelId="{4D8136A5-3F30-45AA-B210-E6DC1A363333}" type="pres">
      <dgm:prSet presAssocID="{67AF0873-654F-4510-AB3A-6BCD089DABC3}" presName="diagram" presStyleCnt="0">
        <dgm:presLayoutVars>
          <dgm:dir/>
          <dgm:resizeHandles val="exact"/>
        </dgm:presLayoutVars>
      </dgm:prSet>
      <dgm:spPr/>
    </dgm:pt>
    <dgm:pt modelId="{2B32E410-3365-494B-A367-1744D2F2D527}" type="pres">
      <dgm:prSet presAssocID="{828DDA33-30BE-4304-96ED-9AEB1F2D1440}" presName="node" presStyleLbl="node1" presStyleIdx="0" presStyleCnt="19">
        <dgm:presLayoutVars>
          <dgm:bulletEnabled val="1"/>
        </dgm:presLayoutVars>
      </dgm:prSet>
      <dgm:spPr/>
    </dgm:pt>
    <dgm:pt modelId="{85E440E1-6AC4-4872-8CDB-AACE7C1CF22B}" type="pres">
      <dgm:prSet presAssocID="{E05485B6-08D1-4577-8682-F888C3815FF3}" presName="sibTrans" presStyleLbl="sibTrans2D1" presStyleIdx="0" presStyleCnt="18"/>
      <dgm:spPr/>
    </dgm:pt>
    <dgm:pt modelId="{E899C35B-C03D-43B4-97ED-B99E3109D9FD}" type="pres">
      <dgm:prSet presAssocID="{E05485B6-08D1-4577-8682-F888C3815FF3}" presName="connectorText" presStyleLbl="sibTrans2D1" presStyleIdx="0" presStyleCnt="18"/>
      <dgm:spPr/>
    </dgm:pt>
    <dgm:pt modelId="{A6C325BF-53F1-45E4-A318-6910DE4A702E}" type="pres">
      <dgm:prSet presAssocID="{038ACFA8-6696-43DC-899D-088F7FC66C29}" presName="node" presStyleLbl="node1" presStyleIdx="1" presStyleCnt="19">
        <dgm:presLayoutVars>
          <dgm:bulletEnabled val="1"/>
        </dgm:presLayoutVars>
      </dgm:prSet>
      <dgm:spPr/>
    </dgm:pt>
    <dgm:pt modelId="{7D86E2E3-F7F8-4162-AAD9-9C7A9544AFF4}" type="pres">
      <dgm:prSet presAssocID="{6AB55C8A-DBA9-4D38-8478-835B489DDB00}" presName="sibTrans" presStyleLbl="sibTrans2D1" presStyleIdx="1" presStyleCnt="18"/>
      <dgm:spPr/>
    </dgm:pt>
    <dgm:pt modelId="{849771F8-C44D-4DB2-8A86-95BF800AB05D}" type="pres">
      <dgm:prSet presAssocID="{6AB55C8A-DBA9-4D38-8478-835B489DDB00}" presName="connectorText" presStyleLbl="sibTrans2D1" presStyleIdx="1" presStyleCnt="18"/>
      <dgm:spPr/>
    </dgm:pt>
    <dgm:pt modelId="{3302F8D1-6174-43B6-80F6-7ABEF5395251}" type="pres">
      <dgm:prSet presAssocID="{89CBCCFC-6C22-4178-B8E1-81BF7B748E76}" presName="node" presStyleLbl="node1" presStyleIdx="2" presStyleCnt="19">
        <dgm:presLayoutVars>
          <dgm:bulletEnabled val="1"/>
        </dgm:presLayoutVars>
      </dgm:prSet>
      <dgm:spPr/>
    </dgm:pt>
    <dgm:pt modelId="{1C1576F0-F965-43CA-B32A-271CCC8BBE86}" type="pres">
      <dgm:prSet presAssocID="{D65FE824-26ED-4D52-961F-7E457BF69F6F}" presName="sibTrans" presStyleLbl="sibTrans2D1" presStyleIdx="2" presStyleCnt="18"/>
      <dgm:spPr/>
    </dgm:pt>
    <dgm:pt modelId="{85F8F4F9-A189-4398-A8B3-F2745C1D6428}" type="pres">
      <dgm:prSet presAssocID="{D65FE824-26ED-4D52-961F-7E457BF69F6F}" presName="connectorText" presStyleLbl="sibTrans2D1" presStyleIdx="2" presStyleCnt="18"/>
      <dgm:spPr/>
    </dgm:pt>
    <dgm:pt modelId="{0F8E0B5A-7A04-431A-87B3-CE4D5A0BAED8}" type="pres">
      <dgm:prSet presAssocID="{0341CAE2-BF61-4125-A2D2-50B7A2DFB1AF}" presName="node" presStyleLbl="node1" presStyleIdx="3" presStyleCnt="19">
        <dgm:presLayoutVars>
          <dgm:bulletEnabled val="1"/>
        </dgm:presLayoutVars>
      </dgm:prSet>
      <dgm:spPr/>
    </dgm:pt>
    <dgm:pt modelId="{146D39EE-E291-4A55-A806-C0AAF9B2D750}" type="pres">
      <dgm:prSet presAssocID="{45A0EDDB-61F2-45A5-AF24-1B927586809F}" presName="sibTrans" presStyleLbl="sibTrans2D1" presStyleIdx="3" presStyleCnt="18"/>
      <dgm:spPr/>
    </dgm:pt>
    <dgm:pt modelId="{0D52AAAC-72B5-4F0D-A479-EE25E91D17FA}" type="pres">
      <dgm:prSet presAssocID="{45A0EDDB-61F2-45A5-AF24-1B927586809F}" presName="connectorText" presStyleLbl="sibTrans2D1" presStyleIdx="3" presStyleCnt="18"/>
      <dgm:spPr/>
    </dgm:pt>
    <dgm:pt modelId="{31C59386-C4B7-40D6-B155-A0CC8046E80A}" type="pres">
      <dgm:prSet presAssocID="{CD1244F4-66CB-4D8B-9E9B-AE3EB96C182A}" presName="node" presStyleLbl="node1" presStyleIdx="4" presStyleCnt="19">
        <dgm:presLayoutVars>
          <dgm:bulletEnabled val="1"/>
        </dgm:presLayoutVars>
      </dgm:prSet>
      <dgm:spPr/>
    </dgm:pt>
    <dgm:pt modelId="{129179D8-F1A1-40F4-9A2C-40E0816CEE97}" type="pres">
      <dgm:prSet presAssocID="{FC464D58-97C5-47A6-91FD-DB758F23CE4E}" presName="sibTrans" presStyleLbl="sibTrans2D1" presStyleIdx="4" presStyleCnt="18"/>
      <dgm:spPr/>
    </dgm:pt>
    <dgm:pt modelId="{5C3E99B5-E9A3-407F-8CEC-72BBE218F501}" type="pres">
      <dgm:prSet presAssocID="{FC464D58-97C5-47A6-91FD-DB758F23CE4E}" presName="connectorText" presStyleLbl="sibTrans2D1" presStyleIdx="4" presStyleCnt="18"/>
      <dgm:spPr/>
    </dgm:pt>
    <dgm:pt modelId="{690FBC40-FDDA-4C5F-B2B6-BA82ED89E8AB}" type="pres">
      <dgm:prSet presAssocID="{083A116A-8B71-4FB5-878D-7FD48B447B40}" presName="node" presStyleLbl="node1" presStyleIdx="5" presStyleCnt="19">
        <dgm:presLayoutVars>
          <dgm:bulletEnabled val="1"/>
        </dgm:presLayoutVars>
      </dgm:prSet>
      <dgm:spPr/>
    </dgm:pt>
    <dgm:pt modelId="{712EC755-27ED-4385-B25F-5FC38AA796EA}" type="pres">
      <dgm:prSet presAssocID="{3FC39E48-8331-43A2-AF6A-256B73F47CB1}" presName="sibTrans" presStyleLbl="sibTrans2D1" presStyleIdx="5" presStyleCnt="18"/>
      <dgm:spPr/>
    </dgm:pt>
    <dgm:pt modelId="{A7C7801C-7FF8-4422-8F86-5DE2EFFBEAC9}" type="pres">
      <dgm:prSet presAssocID="{3FC39E48-8331-43A2-AF6A-256B73F47CB1}" presName="connectorText" presStyleLbl="sibTrans2D1" presStyleIdx="5" presStyleCnt="18"/>
      <dgm:spPr/>
    </dgm:pt>
    <dgm:pt modelId="{F639EC19-084D-49F5-9E58-EB3628B51725}" type="pres">
      <dgm:prSet presAssocID="{2155DCCE-DB39-4C0C-B406-DC7D030A2E6A}" presName="node" presStyleLbl="node1" presStyleIdx="6" presStyleCnt="19">
        <dgm:presLayoutVars>
          <dgm:bulletEnabled val="1"/>
        </dgm:presLayoutVars>
      </dgm:prSet>
      <dgm:spPr/>
    </dgm:pt>
    <dgm:pt modelId="{80E0436E-71CC-41C1-8D7D-660629542254}" type="pres">
      <dgm:prSet presAssocID="{F47361FE-E197-4CD0-A4E9-3132A27B89A5}" presName="sibTrans" presStyleLbl="sibTrans2D1" presStyleIdx="6" presStyleCnt="18"/>
      <dgm:spPr/>
    </dgm:pt>
    <dgm:pt modelId="{BCCD68E4-D387-4246-A939-F70CDD46A379}" type="pres">
      <dgm:prSet presAssocID="{F47361FE-E197-4CD0-A4E9-3132A27B89A5}" presName="connectorText" presStyleLbl="sibTrans2D1" presStyleIdx="6" presStyleCnt="18"/>
      <dgm:spPr/>
    </dgm:pt>
    <dgm:pt modelId="{A3D97B7B-5134-4984-99E5-28CB9B4EF218}" type="pres">
      <dgm:prSet presAssocID="{93C1800D-0E62-4BB2-ABD2-DA7F876B2756}" presName="node" presStyleLbl="node1" presStyleIdx="7" presStyleCnt="19">
        <dgm:presLayoutVars>
          <dgm:bulletEnabled val="1"/>
        </dgm:presLayoutVars>
      </dgm:prSet>
      <dgm:spPr/>
    </dgm:pt>
    <dgm:pt modelId="{93ED5C7C-D354-4B63-B1A5-98F30573BA3F}" type="pres">
      <dgm:prSet presAssocID="{11003004-D867-45DB-B8EC-C4A44486952A}" presName="sibTrans" presStyleLbl="sibTrans2D1" presStyleIdx="7" presStyleCnt="18"/>
      <dgm:spPr/>
    </dgm:pt>
    <dgm:pt modelId="{3F1C6988-5F4F-4DB3-B9AC-112C7018D945}" type="pres">
      <dgm:prSet presAssocID="{11003004-D867-45DB-B8EC-C4A44486952A}" presName="connectorText" presStyleLbl="sibTrans2D1" presStyleIdx="7" presStyleCnt="18"/>
      <dgm:spPr/>
    </dgm:pt>
    <dgm:pt modelId="{DCD2E134-18E4-4A63-985E-935770130ECA}" type="pres">
      <dgm:prSet presAssocID="{47EE3148-0776-456F-9F1A-F35C6A434C88}" presName="node" presStyleLbl="node1" presStyleIdx="8" presStyleCnt="19">
        <dgm:presLayoutVars>
          <dgm:bulletEnabled val="1"/>
        </dgm:presLayoutVars>
      </dgm:prSet>
      <dgm:spPr/>
    </dgm:pt>
    <dgm:pt modelId="{34B32203-6E3D-4FC3-8C20-BA232E1118F8}" type="pres">
      <dgm:prSet presAssocID="{C63C4564-8E39-4EA2-BEBF-D5DE288C243E}" presName="sibTrans" presStyleLbl="sibTrans2D1" presStyleIdx="8" presStyleCnt="18"/>
      <dgm:spPr/>
    </dgm:pt>
    <dgm:pt modelId="{D3222887-04A1-4CCD-8880-440D470B6952}" type="pres">
      <dgm:prSet presAssocID="{C63C4564-8E39-4EA2-BEBF-D5DE288C243E}" presName="connectorText" presStyleLbl="sibTrans2D1" presStyleIdx="8" presStyleCnt="18"/>
      <dgm:spPr/>
    </dgm:pt>
    <dgm:pt modelId="{3784431B-A1D2-4F51-BAB6-613E7DE2F203}" type="pres">
      <dgm:prSet presAssocID="{E36F3098-A487-4F3C-9358-D52BB6453AE9}" presName="node" presStyleLbl="node1" presStyleIdx="9" presStyleCnt="19">
        <dgm:presLayoutVars>
          <dgm:bulletEnabled val="1"/>
        </dgm:presLayoutVars>
      </dgm:prSet>
      <dgm:spPr/>
    </dgm:pt>
    <dgm:pt modelId="{62B8C3F5-D24E-4911-9A28-DC73917E4F97}" type="pres">
      <dgm:prSet presAssocID="{CA084B63-C96F-4D82-BB5B-8CE34F4C5753}" presName="sibTrans" presStyleLbl="sibTrans2D1" presStyleIdx="9" presStyleCnt="18"/>
      <dgm:spPr/>
    </dgm:pt>
    <dgm:pt modelId="{DD705FBE-A0A7-4B15-807E-53BFF40C8CD6}" type="pres">
      <dgm:prSet presAssocID="{CA084B63-C96F-4D82-BB5B-8CE34F4C5753}" presName="connectorText" presStyleLbl="sibTrans2D1" presStyleIdx="9" presStyleCnt="18"/>
      <dgm:spPr/>
    </dgm:pt>
    <dgm:pt modelId="{5F5077B9-6403-4CA3-A211-50F26931E7F4}" type="pres">
      <dgm:prSet presAssocID="{12574AEE-5EC3-43F0-A290-DD626A6A3D2A}" presName="node" presStyleLbl="node1" presStyleIdx="10" presStyleCnt="19">
        <dgm:presLayoutVars>
          <dgm:bulletEnabled val="1"/>
        </dgm:presLayoutVars>
      </dgm:prSet>
      <dgm:spPr/>
    </dgm:pt>
    <dgm:pt modelId="{2BD63230-0B68-46D0-BFFA-9007776AF906}" type="pres">
      <dgm:prSet presAssocID="{55D46958-042F-4551-954D-3312B70F3054}" presName="sibTrans" presStyleLbl="sibTrans2D1" presStyleIdx="10" presStyleCnt="18"/>
      <dgm:spPr/>
    </dgm:pt>
    <dgm:pt modelId="{7254C4FA-B3BE-40B0-86D0-7CBEF0045736}" type="pres">
      <dgm:prSet presAssocID="{55D46958-042F-4551-954D-3312B70F3054}" presName="connectorText" presStyleLbl="sibTrans2D1" presStyleIdx="10" presStyleCnt="18"/>
      <dgm:spPr/>
    </dgm:pt>
    <dgm:pt modelId="{30C3B839-ABC7-415C-BDBD-002D29D76B3E}" type="pres">
      <dgm:prSet presAssocID="{6CFB25D3-8C64-4BEA-9B7A-C8ECD1D5AAC7}" presName="node" presStyleLbl="node1" presStyleIdx="11" presStyleCnt="19">
        <dgm:presLayoutVars>
          <dgm:bulletEnabled val="1"/>
        </dgm:presLayoutVars>
      </dgm:prSet>
      <dgm:spPr/>
    </dgm:pt>
    <dgm:pt modelId="{E1AFE8D9-682C-4DBA-96E1-38857C1CB86F}" type="pres">
      <dgm:prSet presAssocID="{E0C8D7CD-B0EE-41BC-922C-EAFC18EBC08D}" presName="sibTrans" presStyleLbl="sibTrans2D1" presStyleIdx="11" presStyleCnt="18"/>
      <dgm:spPr/>
    </dgm:pt>
    <dgm:pt modelId="{3D86C70B-1475-462B-B230-7E25D8175E4F}" type="pres">
      <dgm:prSet presAssocID="{E0C8D7CD-B0EE-41BC-922C-EAFC18EBC08D}" presName="connectorText" presStyleLbl="sibTrans2D1" presStyleIdx="11" presStyleCnt="18"/>
      <dgm:spPr/>
    </dgm:pt>
    <dgm:pt modelId="{67F48EE6-9E13-467F-868A-7E25FC77C6D3}" type="pres">
      <dgm:prSet presAssocID="{F99436E3-52E6-49C2-8C7E-F4CC2A6B5321}" presName="node" presStyleLbl="node1" presStyleIdx="12" presStyleCnt="19">
        <dgm:presLayoutVars>
          <dgm:bulletEnabled val="1"/>
        </dgm:presLayoutVars>
      </dgm:prSet>
      <dgm:spPr/>
    </dgm:pt>
    <dgm:pt modelId="{D77E4194-8596-4B69-A0FF-70ED9CE214D5}" type="pres">
      <dgm:prSet presAssocID="{308309F5-7392-4238-BAC1-E686A2E93FB1}" presName="sibTrans" presStyleLbl="sibTrans2D1" presStyleIdx="12" presStyleCnt="18"/>
      <dgm:spPr/>
    </dgm:pt>
    <dgm:pt modelId="{4C30417D-0060-4510-A3C2-FE8DB92565DB}" type="pres">
      <dgm:prSet presAssocID="{308309F5-7392-4238-BAC1-E686A2E93FB1}" presName="connectorText" presStyleLbl="sibTrans2D1" presStyleIdx="12" presStyleCnt="18"/>
      <dgm:spPr/>
    </dgm:pt>
    <dgm:pt modelId="{F3AB15D3-FABF-4B10-B398-3E5BFB0B7C14}" type="pres">
      <dgm:prSet presAssocID="{99ADBFAE-BFD6-4EC6-862A-0AD1BE585FA5}" presName="node" presStyleLbl="node1" presStyleIdx="13" presStyleCnt="19">
        <dgm:presLayoutVars>
          <dgm:bulletEnabled val="1"/>
        </dgm:presLayoutVars>
      </dgm:prSet>
      <dgm:spPr/>
    </dgm:pt>
    <dgm:pt modelId="{BCC3FB23-5361-48DA-8D73-5F5B8257D0BC}" type="pres">
      <dgm:prSet presAssocID="{F97EB4DB-AAAB-405E-AFD2-5BD91C301B50}" presName="sibTrans" presStyleLbl="sibTrans2D1" presStyleIdx="13" presStyleCnt="18"/>
      <dgm:spPr/>
    </dgm:pt>
    <dgm:pt modelId="{7C720342-5D4D-4662-BB66-7DCB0B22EF19}" type="pres">
      <dgm:prSet presAssocID="{F97EB4DB-AAAB-405E-AFD2-5BD91C301B50}" presName="connectorText" presStyleLbl="sibTrans2D1" presStyleIdx="13" presStyleCnt="18"/>
      <dgm:spPr/>
    </dgm:pt>
    <dgm:pt modelId="{8E878BC4-8912-4178-9F2E-63BF1ECFFBEA}" type="pres">
      <dgm:prSet presAssocID="{A188EE17-6569-4849-8482-64537CB36C5B}" presName="node" presStyleLbl="node1" presStyleIdx="14" presStyleCnt="19">
        <dgm:presLayoutVars>
          <dgm:bulletEnabled val="1"/>
        </dgm:presLayoutVars>
      </dgm:prSet>
      <dgm:spPr/>
    </dgm:pt>
    <dgm:pt modelId="{C59C0CB7-149E-4435-B690-0528D8EFBEA5}" type="pres">
      <dgm:prSet presAssocID="{D5C32E86-9FB6-4CDB-8C95-54A227901A9D}" presName="sibTrans" presStyleLbl="sibTrans2D1" presStyleIdx="14" presStyleCnt="18"/>
      <dgm:spPr/>
    </dgm:pt>
    <dgm:pt modelId="{32E00774-6B19-4CAA-A09B-1A2C4D70DCFA}" type="pres">
      <dgm:prSet presAssocID="{D5C32E86-9FB6-4CDB-8C95-54A227901A9D}" presName="connectorText" presStyleLbl="sibTrans2D1" presStyleIdx="14" presStyleCnt="18"/>
      <dgm:spPr/>
    </dgm:pt>
    <dgm:pt modelId="{943BC048-A90D-4D9E-9821-A85ACAC327CA}" type="pres">
      <dgm:prSet presAssocID="{13527068-A1CA-458F-B588-2D30F318AE6A}" presName="node" presStyleLbl="node1" presStyleIdx="15" presStyleCnt="19">
        <dgm:presLayoutVars>
          <dgm:bulletEnabled val="1"/>
        </dgm:presLayoutVars>
      </dgm:prSet>
      <dgm:spPr/>
    </dgm:pt>
    <dgm:pt modelId="{62E498A3-2517-45DC-9A8A-B34427D9BB6A}" type="pres">
      <dgm:prSet presAssocID="{3BD8E6D3-DBF4-4F74-B762-27FF01389575}" presName="sibTrans" presStyleLbl="sibTrans2D1" presStyleIdx="15" presStyleCnt="18"/>
      <dgm:spPr/>
    </dgm:pt>
    <dgm:pt modelId="{FECEF29F-53FE-447A-BFEB-12F0A2DF6317}" type="pres">
      <dgm:prSet presAssocID="{3BD8E6D3-DBF4-4F74-B762-27FF01389575}" presName="connectorText" presStyleLbl="sibTrans2D1" presStyleIdx="15" presStyleCnt="18"/>
      <dgm:spPr/>
    </dgm:pt>
    <dgm:pt modelId="{C2AC126E-D58A-4775-9E89-4DDBC214AEC1}" type="pres">
      <dgm:prSet presAssocID="{5404560D-1EFB-4624-945D-4DD8989990AA}" presName="node" presStyleLbl="node1" presStyleIdx="16" presStyleCnt="19">
        <dgm:presLayoutVars>
          <dgm:bulletEnabled val="1"/>
        </dgm:presLayoutVars>
      </dgm:prSet>
      <dgm:spPr/>
    </dgm:pt>
    <dgm:pt modelId="{65357D0F-DA24-4B22-B866-9C5F45D83539}" type="pres">
      <dgm:prSet presAssocID="{B3305FBD-2A98-4A5D-9448-5B552679D00A}" presName="sibTrans" presStyleLbl="sibTrans2D1" presStyleIdx="16" presStyleCnt="18"/>
      <dgm:spPr/>
    </dgm:pt>
    <dgm:pt modelId="{1406B004-60F2-4DD9-810B-680BEBC77DF8}" type="pres">
      <dgm:prSet presAssocID="{B3305FBD-2A98-4A5D-9448-5B552679D00A}" presName="connectorText" presStyleLbl="sibTrans2D1" presStyleIdx="16" presStyleCnt="18"/>
      <dgm:spPr/>
    </dgm:pt>
    <dgm:pt modelId="{D6E5D510-5AE4-40FC-8E5D-C5B3280B3071}" type="pres">
      <dgm:prSet presAssocID="{44BCA2F7-4DFE-40B0-BF36-395295EDAF37}" presName="node" presStyleLbl="node1" presStyleIdx="17" presStyleCnt="19">
        <dgm:presLayoutVars>
          <dgm:bulletEnabled val="1"/>
        </dgm:presLayoutVars>
      </dgm:prSet>
      <dgm:spPr/>
    </dgm:pt>
    <dgm:pt modelId="{F0D65399-0147-47D5-9455-0DE6DE7AB3D4}" type="pres">
      <dgm:prSet presAssocID="{1A483732-DEE2-49AC-8401-AC4547915754}" presName="sibTrans" presStyleLbl="sibTrans2D1" presStyleIdx="17" presStyleCnt="18"/>
      <dgm:spPr/>
    </dgm:pt>
    <dgm:pt modelId="{B0EB730C-F0B6-4ACB-9FE9-C5BD5E852DC9}" type="pres">
      <dgm:prSet presAssocID="{1A483732-DEE2-49AC-8401-AC4547915754}" presName="connectorText" presStyleLbl="sibTrans2D1" presStyleIdx="17" presStyleCnt="18"/>
      <dgm:spPr/>
    </dgm:pt>
    <dgm:pt modelId="{85255D68-460B-43F3-98F6-D967AFF13228}" type="pres">
      <dgm:prSet presAssocID="{553D5A18-350A-4DE4-801A-BA63244DF558}" presName="node" presStyleLbl="node1" presStyleIdx="18" presStyleCnt="19">
        <dgm:presLayoutVars>
          <dgm:bulletEnabled val="1"/>
        </dgm:presLayoutVars>
      </dgm:prSet>
      <dgm:spPr/>
    </dgm:pt>
  </dgm:ptLst>
  <dgm:cxnLst>
    <dgm:cxn modelId="{51758E00-33B4-4CC0-8EE4-12F7BEBEABC9}" type="presOf" srcId="{083A116A-8B71-4FB5-878D-7FD48B447B40}" destId="{690FBC40-FDDA-4C5F-B2B6-BA82ED89E8AB}" srcOrd="0" destOrd="0" presId="urn:microsoft.com/office/officeart/2005/8/layout/process5"/>
    <dgm:cxn modelId="{6D7D6F01-4333-4756-8396-7FC49A3670C0}" srcId="{67AF0873-654F-4510-AB3A-6BCD089DABC3}" destId="{44BCA2F7-4DFE-40B0-BF36-395295EDAF37}" srcOrd="17" destOrd="0" parTransId="{234B0C10-ADBC-4532-939F-A8C683BC36CE}" sibTransId="{1A483732-DEE2-49AC-8401-AC4547915754}"/>
    <dgm:cxn modelId="{8E3C1204-1061-427E-8D33-329C62E504E2}" srcId="{67AF0873-654F-4510-AB3A-6BCD089DABC3}" destId="{93C1800D-0E62-4BB2-ABD2-DA7F876B2756}" srcOrd="7" destOrd="0" parTransId="{10C331F2-582C-4E9E-91FA-998D52E6398E}" sibTransId="{11003004-D867-45DB-B8EC-C4A44486952A}"/>
    <dgm:cxn modelId="{DF53EA07-FA30-4876-9E2D-0741372831A7}" type="presOf" srcId="{45A0EDDB-61F2-45A5-AF24-1B927586809F}" destId="{146D39EE-E291-4A55-A806-C0AAF9B2D750}" srcOrd="0" destOrd="0" presId="urn:microsoft.com/office/officeart/2005/8/layout/process5"/>
    <dgm:cxn modelId="{C088EA08-4890-4D98-8759-AE03100871AF}" srcId="{67AF0873-654F-4510-AB3A-6BCD089DABC3}" destId="{038ACFA8-6696-43DC-899D-088F7FC66C29}" srcOrd="1" destOrd="0" parTransId="{23EED50F-5125-4E38-9277-485AA98FCA23}" sibTransId="{6AB55C8A-DBA9-4D38-8478-835B489DDB00}"/>
    <dgm:cxn modelId="{B626E709-B40F-49FD-B96F-8A5E72300D72}" type="presOf" srcId="{828DDA33-30BE-4304-96ED-9AEB1F2D1440}" destId="{2B32E410-3365-494B-A367-1744D2F2D527}" srcOrd="0" destOrd="0" presId="urn:microsoft.com/office/officeart/2005/8/layout/process5"/>
    <dgm:cxn modelId="{F694600F-0DF1-4776-BB10-E5F83D5B3DB8}" srcId="{67AF0873-654F-4510-AB3A-6BCD089DABC3}" destId="{A188EE17-6569-4849-8482-64537CB36C5B}" srcOrd="14" destOrd="0" parTransId="{6BEB942D-751A-4204-8E41-53C894ADD3AE}" sibTransId="{D5C32E86-9FB6-4CDB-8C95-54A227901A9D}"/>
    <dgm:cxn modelId="{8A54F515-F373-445E-85BA-DB1B00DF4289}" srcId="{67AF0873-654F-4510-AB3A-6BCD089DABC3}" destId="{12574AEE-5EC3-43F0-A290-DD626A6A3D2A}" srcOrd="10" destOrd="0" parTransId="{3A0F5F3C-2717-4680-9785-411A3E5497D8}" sibTransId="{55D46958-042F-4551-954D-3312B70F3054}"/>
    <dgm:cxn modelId="{6BB1CD17-13EB-4F99-B0A1-B25226ACFD68}" type="presOf" srcId="{89CBCCFC-6C22-4178-B8E1-81BF7B748E76}" destId="{3302F8D1-6174-43B6-80F6-7ABEF5395251}" srcOrd="0" destOrd="0" presId="urn:microsoft.com/office/officeart/2005/8/layout/process5"/>
    <dgm:cxn modelId="{B988DD18-62B1-4719-B48F-4ED92A933A97}" type="presOf" srcId="{CA084B63-C96F-4D82-BB5B-8CE34F4C5753}" destId="{DD705FBE-A0A7-4B15-807E-53BFF40C8CD6}" srcOrd="1" destOrd="0" presId="urn:microsoft.com/office/officeart/2005/8/layout/process5"/>
    <dgm:cxn modelId="{B5A2511C-12BC-4EEF-914D-19925BD4B96B}" type="presOf" srcId="{A188EE17-6569-4849-8482-64537CB36C5B}" destId="{8E878BC4-8912-4178-9F2E-63BF1ECFFBEA}" srcOrd="0" destOrd="0" presId="urn:microsoft.com/office/officeart/2005/8/layout/process5"/>
    <dgm:cxn modelId="{42368122-1188-467B-AC82-7F9AAF84EF84}" type="presOf" srcId="{B3305FBD-2A98-4A5D-9448-5B552679D00A}" destId="{1406B004-60F2-4DD9-810B-680BEBC77DF8}" srcOrd="1" destOrd="0" presId="urn:microsoft.com/office/officeart/2005/8/layout/process5"/>
    <dgm:cxn modelId="{8B098C24-92AE-456A-9011-56A54080006D}" type="presOf" srcId="{D65FE824-26ED-4D52-961F-7E457BF69F6F}" destId="{1C1576F0-F965-43CA-B32A-271CCC8BBE86}" srcOrd="0" destOrd="0" presId="urn:microsoft.com/office/officeart/2005/8/layout/process5"/>
    <dgm:cxn modelId="{FB85C226-36B0-4DB4-BC3D-15F4F202F36E}" type="presOf" srcId="{F47361FE-E197-4CD0-A4E9-3132A27B89A5}" destId="{BCCD68E4-D387-4246-A939-F70CDD46A379}" srcOrd="1" destOrd="0" presId="urn:microsoft.com/office/officeart/2005/8/layout/process5"/>
    <dgm:cxn modelId="{BF9EA927-B5B5-40F0-B039-850A8BBF0A57}" type="presOf" srcId="{C63C4564-8E39-4EA2-BEBF-D5DE288C243E}" destId="{34B32203-6E3D-4FC3-8C20-BA232E1118F8}" srcOrd="0" destOrd="0" presId="urn:microsoft.com/office/officeart/2005/8/layout/process5"/>
    <dgm:cxn modelId="{427BF72B-8F13-48F0-96C0-CC168F2D96E1}" srcId="{67AF0873-654F-4510-AB3A-6BCD089DABC3}" destId="{0341CAE2-BF61-4125-A2D2-50B7A2DFB1AF}" srcOrd="3" destOrd="0" parTransId="{81B57D60-3280-41DE-BB06-F8CC6ECB26E4}" sibTransId="{45A0EDDB-61F2-45A5-AF24-1B927586809F}"/>
    <dgm:cxn modelId="{D0350935-0E66-4C95-B462-CB6E5AFA8B50}" srcId="{67AF0873-654F-4510-AB3A-6BCD089DABC3}" destId="{13527068-A1CA-458F-B588-2D30F318AE6A}" srcOrd="15" destOrd="0" parTransId="{43A47178-86D8-4A4C-8EC6-4F84B75EA0E7}" sibTransId="{3BD8E6D3-DBF4-4F74-B762-27FF01389575}"/>
    <dgm:cxn modelId="{C02A1037-9C89-4FDF-BCCF-1B4A38ACD510}" type="presOf" srcId="{5404560D-1EFB-4624-945D-4DD8989990AA}" destId="{C2AC126E-D58A-4775-9E89-4DDBC214AEC1}" srcOrd="0" destOrd="0" presId="urn:microsoft.com/office/officeart/2005/8/layout/process5"/>
    <dgm:cxn modelId="{C423EC3E-57C3-4D89-88E5-60E4343AAB14}" type="presOf" srcId="{F97EB4DB-AAAB-405E-AFD2-5BD91C301B50}" destId="{7C720342-5D4D-4662-BB66-7DCB0B22EF19}" srcOrd="1" destOrd="0" presId="urn:microsoft.com/office/officeart/2005/8/layout/process5"/>
    <dgm:cxn modelId="{E490F33F-9DF3-4114-9481-E785DEB28ECD}" srcId="{67AF0873-654F-4510-AB3A-6BCD089DABC3}" destId="{6CFB25D3-8C64-4BEA-9B7A-C8ECD1D5AAC7}" srcOrd="11" destOrd="0" parTransId="{7B535D39-084B-475A-BD2B-95C5706F2DEA}" sibTransId="{E0C8D7CD-B0EE-41BC-922C-EAFC18EBC08D}"/>
    <dgm:cxn modelId="{DB6A4662-C4BA-4323-8C17-38DE74277E7F}" type="presOf" srcId="{CA084B63-C96F-4D82-BB5B-8CE34F4C5753}" destId="{62B8C3F5-D24E-4911-9A28-DC73917E4F97}" srcOrd="0" destOrd="0" presId="urn:microsoft.com/office/officeart/2005/8/layout/process5"/>
    <dgm:cxn modelId="{2791A645-65A9-4986-B603-9413275951DA}" type="presOf" srcId="{1A483732-DEE2-49AC-8401-AC4547915754}" destId="{F0D65399-0147-47D5-9455-0DE6DE7AB3D4}" srcOrd="0" destOrd="0" presId="urn:microsoft.com/office/officeart/2005/8/layout/process5"/>
    <dgm:cxn modelId="{44E6B047-2BA5-4BBC-B214-66C83BFC445C}" type="presOf" srcId="{FC464D58-97C5-47A6-91FD-DB758F23CE4E}" destId="{129179D8-F1A1-40F4-9A2C-40E0816CEE97}" srcOrd="0" destOrd="0" presId="urn:microsoft.com/office/officeart/2005/8/layout/process5"/>
    <dgm:cxn modelId="{B1400948-C942-4F42-BD14-199378937220}" srcId="{67AF0873-654F-4510-AB3A-6BCD089DABC3}" destId="{89CBCCFC-6C22-4178-B8E1-81BF7B748E76}" srcOrd="2" destOrd="0" parTransId="{A0D5F88D-1DB9-4233-A2EF-82F593464D50}" sibTransId="{D65FE824-26ED-4D52-961F-7E457BF69F6F}"/>
    <dgm:cxn modelId="{DE37A468-AE50-49A7-BCB3-297A95A94BD3}" srcId="{67AF0873-654F-4510-AB3A-6BCD089DABC3}" destId="{E36F3098-A487-4F3C-9358-D52BB6453AE9}" srcOrd="9" destOrd="0" parTransId="{9696FCA6-6BFA-4740-AE3B-083B50C6A2D7}" sibTransId="{CA084B63-C96F-4D82-BB5B-8CE34F4C5753}"/>
    <dgm:cxn modelId="{A2E4E048-CA50-439D-B2A2-C50F4C3B7C4F}" type="presOf" srcId="{B3305FBD-2A98-4A5D-9448-5B552679D00A}" destId="{65357D0F-DA24-4B22-B866-9C5F45D83539}" srcOrd="0" destOrd="0" presId="urn:microsoft.com/office/officeart/2005/8/layout/process5"/>
    <dgm:cxn modelId="{6DAB374B-6E26-450D-BEBE-97495456D143}" srcId="{67AF0873-654F-4510-AB3A-6BCD089DABC3}" destId="{CD1244F4-66CB-4D8B-9E9B-AE3EB96C182A}" srcOrd="4" destOrd="0" parTransId="{90834F6D-9528-41EE-8FC9-5D8C5006376C}" sibTransId="{FC464D58-97C5-47A6-91FD-DB758F23CE4E}"/>
    <dgm:cxn modelId="{08A43A4B-0BB0-43C0-9E5A-1C7A486A496E}" type="presOf" srcId="{1A483732-DEE2-49AC-8401-AC4547915754}" destId="{B0EB730C-F0B6-4ACB-9FE9-C5BD5E852DC9}" srcOrd="1" destOrd="0" presId="urn:microsoft.com/office/officeart/2005/8/layout/process5"/>
    <dgm:cxn modelId="{1F217F4D-FB28-4292-A1CC-606C449925F3}" type="presOf" srcId="{3BD8E6D3-DBF4-4F74-B762-27FF01389575}" destId="{62E498A3-2517-45DC-9A8A-B34427D9BB6A}" srcOrd="0" destOrd="0" presId="urn:microsoft.com/office/officeart/2005/8/layout/process5"/>
    <dgm:cxn modelId="{47FEAC6D-F444-4E37-A33C-42A241896A0D}" type="presOf" srcId="{F99436E3-52E6-49C2-8C7E-F4CC2A6B5321}" destId="{67F48EE6-9E13-467F-868A-7E25FC77C6D3}" srcOrd="0" destOrd="0" presId="urn:microsoft.com/office/officeart/2005/8/layout/process5"/>
    <dgm:cxn modelId="{DA961B6F-D892-4D32-9682-E5C65B516AC0}" type="presOf" srcId="{55D46958-042F-4551-954D-3312B70F3054}" destId="{7254C4FA-B3BE-40B0-86D0-7CBEF0045736}" srcOrd="1" destOrd="0" presId="urn:microsoft.com/office/officeart/2005/8/layout/process5"/>
    <dgm:cxn modelId="{B95AAA52-D901-458C-A21E-A80DC78E5AE1}" type="presOf" srcId="{93C1800D-0E62-4BB2-ABD2-DA7F876B2756}" destId="{A3D97B7B-5134-4984-99E5-28CB9B4EF218}" srcOrd="0" destOrd="0" presId="urn:microsoft.com/office/officeart/2005/8/layout/process5"/>
    <dgm:cxn modelId="{D037EA72-EFB6-4C41-8F5D-0D01E4F86D3B}" type="presOf" srcId="{F47361FE-E197-4CD0-A4E9-3132A27B89A5}" destId="{80E0436E-71CC-41C1-8D7D-660629542254}" srcOrd="0" destOrd="0" presId="urn:microsoft.com/office/officeart/2005/8/layout/process5"/>
    <dgm:cxn modelId="{66F09279-70FD-4ECA-9422-3B5B4E9A001D}" type="presOf" srcId="{55D46958-042F-4551-954D-3312B70F3054}" destId="{2BD63230-0B68-46D0-BFFA-9007776AF906}" srcOrd="0" destOrd="0" presId="urn:microsoft.com/office/officeart/2005/8/layout/process5"/>
    <dgm:cxn modelId="{D8A83B5A-B7FD-4E95-96C6-CDEAEE73EBDA}" srcId="{67AF0873-654F-4510-AB3A-6BCD089DABC3}" destId="{553D5A18-350A-4DE4-801A-BA63244DF558}" srcOrd="18" destOrd="0" parTransId="{F04A867C-C9DF-4817-B7C1-5ADA3A0294E9}" sibTransId="{A03E3999-B985-4024-BAA2-419DE862652E}"/>
    <dgm:cxn modelId="{368CCA7C-C869-4A87-B360-3D16A86B805F}" type="presOf" srcId="{308309F5-7392-4238-BAC1-E686A2E93FB1}" destId="{4C30417D-0060-4510-A3C2-FE8DB92565DB}" srcOrd="1" destOrd="0" presId="urn:microsoft.com/office/officeart/2005/8/layout/process5"/>
    <dgm:cxn modelId="{E037937D-C6F7-4F67-AABE-BD81B748C93E}" type="presOf" srcId="{FC464D58-97C5-47A6-91FD-DB758F23CE4E}" destId="{5C3E99B5-E9A3-407F-8CEC-72BBE218F501}" srcOrd="1" destOrd="0" presId="urn:microsoft.com/office/officeart/2005/8/layout/process5"/>
    <dgm:cxn modelId="{D0B66F85-5454-4B35-8767-0EB15820E31C}" type="presOf" srcId="{44BCA2F7-4DFE-40B0-BF36-395295EDAF37}" destId="{D6E5D510-5AE4-40FC-8E5D-C5B3280B3071}" srcOrd="0" destOrd="0" presId="urn:microsoft.com/office/officeart/2005/8/layout/process5"/>
    <dgm:cxn modelId="{AE5D5085-4B10-4840-BB3C-73573EE54D5E}" type="presOf" srcId="{3FC39E48-8331-43A2-AF6A-256B73F47CB1}" destId="{A7C7801C-7FF8-4422-8F86-5DE2EFFBEAC9}" srcOrd="1" destOrd="0" presId="urn:microsoft.com/office/officeart/2005/8/layout/process5"/>
    <dgm:cxn modelId="{5624848B-766D-4606-8049-20AADEAA00B5}" type="presOf" srcId="{13527068-A1CA-458F-B588-2D30F318AE6A}" destId="{943BC048-A90D-4D9E-9821-A85ACAC327CA}" srcOrd="0" destOrd="0" presId="urn:microsoft.com/office/officeart/2005/8/layout/process5"/>
    <dgm:cxn modelId="{90AB698E-FC20-4D29-A75C-58A2F4201556}" srcId="{67AF0873-654F-4510-AB3A-6BCD089DABC3}" destId="{2155DCCE-DB39-4C0C-B406-DC7D030A2E6A}" srcOrd="6" destOrd="0" parTransId="{98130944-0B55-4255-96E3-3077CF4A71EE}" sibTransId="{F47361FE-E197-4CD0-A4E9-3132A27B89A5}"/>
    <dgm:cxn modelId="{5F725190-F49A-4563-BEF2-56B11B9D46B4}" type="presOf" srcId="{D5C32E86-9FB6-4CDB-8C95-54A227901A9D}" destId="{32E00774-6B19-4CAA-A09B-1A2C4D70DCFA}" srcOrd="1" destOrd="0" presId="urn:microsoft.com/office/officeart/2005/8/layout/process5"/>
    <dgm:cxn modelId="{0B17DA98-E4F5-42EA-8C44-F606E8773BED}" type="presOf" srcId="{038ACFA8-6696-43DC-899D-088F7FC66C29}" destId="{A6C325BF-53F1-45E4-A318-6910DE4A702E}" srcOrd="0" destOrd="0" presId="urn:microsoft.com/office/officeart/2005/8/layout/process5"/>
    <dgm:cxn modelId="{79CB9699-3E03-447F-B116-5408192ABEF9}" srcId="{67AF0873-654F-4510-AB3A-6BCD089DABC3}" destId="{F99436E3-52E6-49C2-8C7E-F4CC2A6B5321}" srcOrd="12" destOrd="0" parTransId="{7ECDF4AF-3120-4F10-A5B4-6B2BD4DB0699}" sibTransId="{308309F5-7392-4238-BAC1-E686A2E93FB1}"/>
    <dgm:cxn modelId="{637455A0-BCEF-4CC8-AA16-4A2F403EF6B6}" srcId="{67AF0873-654F-4510-AB3A-6BCD089DABC3}" destId="{5404560D-1EFB-4624-945D-4DD8989990AA}" srcOrd="16" destOrd="0" parTransId="{A6F9399C-F054-42CD-AF06-B73D12F69D7A}" sibTransId="{B3305FBD-2A98-4A5D-9448-5B552679D00A}"/>
    <dgm:cxn modelId="{2C4EDEA0-112E-4768-B473-EA0DD98E0D8A}" type="presOf" srcId="{0341CAE2-BF61-4125-A2D2-50B7A2DFB1AF}" destId="{0F8E0B5A-7A04-431A-87B3-CE4D5A0BAED8}" srcOrd="0" destOrd="0" presId="urn:microsoft.com/office/officeart/2005/8/layout/process5"/>
    <dgm:cxn modelId="{112355A8-AFB2-486E-ABD3-E8BA5940DA1B}" type="presOf" srcId="{308309F5-7392-4238-BAC1-E686A2E93FB1}" destId="{D77E4194-8596-4B69-A0FF-70ED9CE214D5}" srcOrd="0" destOrd="0" presId="urn:microsoft.com/office/officeart/2005/8/layout/process5"/>
    <dgm:cxn modelId="{804E70A9-EA36-491E-B04B-ACF29D2FBDE3}" srcId="{67AF0873-654F-4510-AB3A-6BCD089DABC3}" destId="{828DDA33-30BE-4304-96ED-9AEB1F2D1440}" srcOrd="0" destOrd="0" parTransId="{9889BE34-551F-47E7-AC0E-AA0FEE0F020E}" sibTransId="{E05485B6-08D1-4577-8682-F888C3815FF3}"/>
    <dgm:cxn modelId="{DBB4D0AA-3225-4412-A8BE-9C158C4ADB28}" type="presOf" srcId="{553D5A18-350A-4DE4-801A-BA63244DF558}" destId="{85255D68-460B-43F3-98F6-D967AFF13228}" srcOrd="0" destOrd="0" presId="urn:microsoft.com/office/officeart/2005/8/layout/process5"/>
    <dgm:cxn modelId="{677320AB-7CEC-43E3-A2E1-E2E20683FC99}" type="presOf" srcId="{E0C8D7CD-B0EE-41BC-922C-EAFC18EBC08D}" destId="{3D86C70B-1475-462B-B230-7E25D8175E4F}" srcOrd="1" destOrd="0" presId="urn:microsoft.com/office/officeart/2005/8/layout/process5"/>
    <dgm:cxn modelId="{ED4CC7B4-AF62-497B-9ADA-209A579CBB8C}" type="presOf" srcId="{E0C8D7CD-B0EE-41BC-922C-EAFC18EBC08D}" destId="{E1AFE8D9-682C-4DBA-96E1-38857C1CB86F}" srcOrd="0" destOrd="0" presId="urn:microsoft.com/office/officeart/2005/8/layout/process5"/>
    <dgm:cxn modelId="{9859E7B5-966F-4169-9900-671C436A41BF}" srcId="{67AF0873-654F-4510-AB3A-6BCD089DABC3}" destId="{083A116A-8B71-4FB5-878D-7FD48B447B40}" srcOrd="5" destOrd="0" parTransId="{504F7A39-417D-40CD-939B-9AAD401AF2F2}" sibTransId="{3FC39E48-8331-43A2-AF6A-256B73F47CB1}"/>
    <dgm:cxn modelId="{B4E812B8-D2A9-43AB-B085-32F5847EFD99}" type="presOf" srcId="{E36F3098-A487-4F3C-9358-D52BB6453AE9}" destId="{3784431B-A1D2-4F51-BAB6-613E7DE2F203}" srcOrd="0" destOrd="0" presId="urn:microsoft.com/office/officeart/2005/8/layout/process5"/>
    <dgm:cxn modelId="{00CC07BF-4E2F-4721-9C11-4C827CC0FECB}" type="presOf" srcId="{D5C32E86-9FB6-4CDB-8C95-54A227901A9D}" destId="{C59C0CB7-149E-4435-B690-0528D8EFBEA5}" srcOrd="0" destOrd="0" presId="urn:microsoft.com/office/officeart/2005/8/layout/process5"/>
    <dgm:cxn modelId="{60A96FC3-0C5B-48AB-AA01-969D92669D5A}" type="presOf" srcId="{C63C4564-8E39-4EA2-BEBF-D5DE288C243E}" destId="{D3222887-04A1-4CCD-8880-440D470B6952}" srcOrd="1" destOrd="0" presId="urn:microsoft.com/office/officeart/2005/8/layout/process5"/>
    <dgm:cxn modelId="{97F626C5-1834-4F62-8566-EC33A977C4AD}" type="presOf" srcId="{3BD8E6D3-DBF4-4F74-B762-27FF01389575}" destId="{FECEF29F-53FE-447A-BFEB-12F0A2DF6317}" srcOrd="1" destOrd="0" presId="urn:microsoft.com/office/officeart/2005/8/layout/process5"/>
    <dgm:cxn modelId="{0BEF48C6-465C-4F28-97A9-C635AACA2C78}" type="presOf" srcId="{CD1244F4-66CB-4D8B-9E9B-AE3EB96C182A}" destId="{31C59386-C4B7-40D6-B155-A0CC8046E80A}" srcOrd="0" destOrd="0" presId="urn:microsoft.com/office/officeart/2005/8/layout/process5"/>
    <dgm:cxn modelId="{64200BC7-12AE-4031-BACB-934B60C7B150}" type="presOf" srcId="{D65FE824-26ED-4D52-961F-7E457BF69F6F}" destId="{85F8F4F9-A189-4398-A8B3-F2745C1D6428}" srcOrd="1" destOrd="0" presId="urn:microsoft.com/office/officeart/2005/8/layout/process5"/>
    <dgm:cxn modelId="{7C8855C8-82A9-4B20-91A8-2478FD8C417A}" type="presOf" srcId="{11003004-D867-45DB-B8EC-C4A44486952A}" destId="{93ED5C7C-D354-4B63-B1A5-98F30573BA3F}" srcOrd="0" destOrd="0" presId="urn:microsoft.com/office/officeart/2005/8/layout/process5"/>
    <dgm:cxn modelId="{BF17FDCE-1F10-4D32-8EDC-9603CAF60899}" type="presOf" srcId="{67AF0873-654F-4510-AB3A-6BCD089DABC3}" destId="{4D8136A5-3F30-45AA-B210-E6DC1A363333}" srcOrd="0" destOrd="0" presId="urn:microsoft.com/office/officeart/2005/8/layout/process5"/>
    <dgm:cxn modelId="{E2AA0FD0-6857-4E1E-8BE3-697CDEB188D3}" type="presOf" srcId="{3FC39E48-8331-43A2-AF6A-256B73F47CB1}" destId="{712EC755-27ED-4385-B25F-5FC38AA796EA}" srcOrd="0" destOrd="0" presId="urn:microsoft.com/office/officeart/2005/8/layout/process5"/>
    <dgm:cxn modelId="{F45360D2-BEC6-4A5B-B544-8F04B7529E92}" type="presOf" srcId="{E05485B6-08D1-4577-8682-F888C3815FF3}" destId="{E899C35B-C03D-43B4-97ED-B99E3109D9FD}" srcOrd="1" destOrd="0" presId="urn:microsoft.com/office/officeart/2005/8/layout/process5"/>
    <dgm:cxn modelId="{8FA32BD3-B926-4E05-9BBB-0CA7DD8A6E0F}" type="presOf" srcId="{11003004-D867-45DB-B8EC-C4A44486952A}" destId="{3F1C6988-5F4F-4DB3-B9AC-112C7018D945}" srcOrd="1" destOrd="0" presId="urn:microsoft.com/office/officeart/2005/8/layout/process5"/>
    <dgm:cxn modelId="{897E43D7-93FE-4C90-9682-63EC0B81F7F6}" srcId="{67AF0873-654F-4510-AB3A-6BCD089DABC3}" destId="{47EE3148-0776-456F-9F1A-F35C6A434C88}" srcOrd="8" destOrd="0" parTransId="{FD253779-7136-45DA-BE4D-46BB0CC7C935}" sibTransId="{C63C4564-8E39-4EA2-BEBF-D5DE288C243E}"/>
    <dgm:cxn modelId="{EAEC54D8-B0E0-4CB5-8533-711C0FD467EA}" type="presOf" srcId="{6CFB25D3-8C64-4BEA-9B7A-C8ECD1D5AAC7}" destId="{30C3B839-ABC7-415C-BDBD-002D29D76B3E}" srcOrd="0" destOrd="0" presId="urn:microsoft.com/office/officeart/2005/8/layout/process5"/>
    <dgm:cxn modelId="{3000FCDB-F1FE-4FC3-9D50-023D08402DAB}" type="presOf" srcId="{6AB55C8A-DBA9-4D38-8478-835B489DDB00}" destId="{849771F8-C44D-4DB2-8A86-95BF800AB05D}" srcOrd="1" destOrd="0" presId="urn:microsoft.com/office/officeart/2005/8/layout/process5"/>
    <dgm:cxn modelId="{B6F92DDD-EBA6-4B26-83A5-E9BD0EC84BFF}" type="presOf" srcId="{2155DCCE-DB39-4C0C-B406-DC7D030A2E6A}" destId="{F639EC19-084D-49F5-9E58-EB3628B51725}" srcOrd="0" destOrd="0" presId="urn:microsoft.com/office/officeart/2005/8/layout/process5"/>
    <dgm:cxn modelId="{C67240DD-0B2C-4C75-BB6B-8A79F2B094EA}" type="presOf" srcId="{47EE3148-0776-456F-9F1A-F35C6A434C88}" destId="{DCD2E134-18E4-4A63-985E-935770130ECA}" srcOrd="0" destOrd="0" presId="urn:microsoft.com/office/officeart/2005/8/layout/process5"/>
    <dgm:cxn modelId="{4FC943E2-C3F8-40A5-863A-9C9DD599D656}" srcId="{67AF0873-654F-4510-AB3A-6BCD089DABC3}" destId="{99ADBFAE-BFD6-4EC6-862A-0AD1BE585FA5}" srcOrd="13" destOrd="0" parTransId="{BCB1D8C4-BBD6-4376-BF98-1ECFDDAB2AC9}" sibTransId="{F97EB4DB-AAAB-405E-AFD2-5BD91C301B50}"/>
    <dgm:cxn modelId="{680D62E7-E35D-42C6-A51B-81CCB5C07EF9}" type="presOf" srcId="{12574AEE-5EC3-43F0-A290-DD626A6A3D2A}" destId="{5F5077B9-6403-4CA3-A211-50F26931E7F4}" srcOrd="0" destOrd="0" presId="urn:microsoft.com/office/officeart/2005/8/layout/process5"/>
    <dgm:cxn modelId="{E1B4FDE9-552B-4ACB-8DAF-3F6262589A1C}" type="presOf" srcId="{99ADBFAE-BFD6-4EC6-862A-0AD1BE585FA5}" destId="{F3AB15D3-FABF-4B10-B398-3E5BFB0B7C14}" srcOrd="0" destOrd="0" presId="urn:microsoft.com/office/officeart/2005/8/layout/process5"/>
    <dgm:cxn modelId="{9E3352ED-A8EA-4F0F-A887-6933B78A672C}" type="presOf" srcId="{F97EB4DB-AAAB-405E-AFD2-5BD91C301B50}" destId="{BCC3FB23-5361-48DA-8D73-5F5B8257D0BC}" srcOrd="0" destOrd="0" presId="urn:microsoft.com/office/officeart/2005/8/layout/process5"/>
    <dgm:cxn modelId="{00BC5CF6-7B3E-4469-9167-5A4512D4E309}" type="presOf" srcId="{6AB55C8A-DBA9-4D38-8478-835B489DDB00}" destId="{7D86E2E3-F7F8-4162-AAD9-9C7A9544AFF4}" srcOrd="0" destOrd="0" presId="urn:microsoft.com/office/officeart/2005/8/layout/process5"/>
    <dgm:cxn modelId="{9E45EBF8-101A-417A-8822-CB5672AFE54D}" type="presOf" srcId="{45A0EDDB-61F2-45A5-AF24-1B927586809F}" destId="{0D52AAAC-72B5-4F0D-A479-EE25E91D17FA}" srcOrd="1" destOrd="0" presId="urn:microsoft.com/office/officeart/2005/8/layout/process5"/>
    <dgm:cxn modelId="{402C8CFF-CB77-4661-9456-6BB0745595D6}" type="presOf" srcId="{E05485B6-08D1-4577-8682-F888C3815FF3}" destId="{85E440E1-6AC4-4872-8CDB-AACE7C1CF22B}" srcOrd="0" destOrd="0" presId="urn:microsoft.com/office/officeart/2005/8/layout/process5"/>
    <dgm:cxn modelId="{DEF42DF6-5049-4F81-B96B-5E5657E8CD3E}" type="presParOf" srcId="{4D8136A5-3F30-45AA-B210-E6DC1A363333}" destId="{2B32E410-3365-494B-A367-1744D2F2D527}" srcOrd="0" destOrd="0" presId="urn:microsoft.com/office/officeart/2005/8/layout/process5"/>
    <dgm:cxn modelId="{3ACEBE9E-01FB-406C-A036-51ECBEDA2671}" type="presParOf" srcId="{4D8136A5-3F30-45AA-B210-E6DC1A363333}" destId="{85E440E1-6AC4-4872-8CDB-AACE7C1CF22B}" srcOrd="1" destOrd="0" presId="urn:microsoft.com/office/officeart/2005/8/layout/process5"/>
    <dgm:cxn modelId="{EF11D40F-33EE-4F93-9BDD-8244BC0E23B3}" type="presParOf" srcId="{85E440E1-6AC4-4872-8CDB-AACE7C1CF22B}" destId="{E899C35B-C03D-43B4-97ED-B99E3109D9FD}" srcOrd="0" destOrd="0" presId="urn:microsoft.com/office/officeart/2005/8/layout/process5"/>
    <dgm:cxn modelId="{DCEECD42-AADB-4789-9D8B-BAC6DC48902F}" type="presParOf" srcId="{4D8136A5-3F30-45AA-B210-E6DC1A363333}" destId="{A6C325BF-53F1-45E4-A318-6910DE4A702E}" srcOrd="2" destOrd="0" presId="urn:microsoft.com/office/officeart/2005/8/layout/process5"/>
    <dgm:cxn modelId="{1B763710-2A12-4428-851E-13579B9074D2}" type="presParOf" srcId="{4D8136A5-3F30-45AA-B210-E6DC1A363333}" destId="{7D86E2E3-F7F8-4162-AAD9-9C7A9544AFF4}" srcOrd="3" destOrd="0" presId="urn:microsoft.com/office/officeart/2005/8/layout/process5"/>
    <dgm:cxn modelId="{A88DA863-AF10-4716-BBE6-63A7AE744D0B}" type="presParOf" srcId="{7D86E2E3-F7F8-4162-AAD9-9C7A9544AFF4}" destId="{849771F8-C44D-4DB2-8A86-95BF800AB05D}" srcOrd="0" destOrd="0" presId="urn:microsoft.com/office/officeart/2005/8/layout/process5"/>
    <dgm:cxn modelId="{C1EEE84B-BD6A-4AC4-987A-59F4FA096D03}" type="presParOf" srcId="{4D8136A5-3F30-45AA-B210-E6DC1A363333}" destId="{3302F8D1-6174-43B6-80F6-7ABEF5395251}" srcOrd="4" destOrd="0" presId="urn:microsoft.com/office/officeart/2005/8/layout/process5"/>
    <dgm:cxn modelId="{3B9448A1-E691-45F5-A147-4CD33FB6D878}" type="presParOf" srcId="{4D8136A5-3F30-45AA-B210-E6DC1A363333}" destId="{1C1576F0-F965-43CA-B32A-271CCC8BBE86}" srcOrd="5" destOrd="0" presId="urn:microsoft.com/office/officeart/2005/8/layout/process5"/>
    <dgm:cxn modelId="{89FB4015-6685-40DE-B0F0-73D4ABBA8B66}" type="presParOf" srcId="{1C1576F0-F965-43CA-B32A-271CCC8BBE86}" destId="{85F8F4F9-A189-4398-A8B3-F2745C1D6428}" srcOrd="0" destOrd="0" presId="urn:microsoft.com/office/officeart/2005/8/layout/process5"/>
    <dgm:cxn modelId="{44495425-FD3D-4601-B8CD-50CA90AFFB9C}" type="presParOf" srcId="{4D8136A5-3F30-45AA-B210-E6DC1A363333}" destId="{0F8E0B5A-7A04-431A-87B3-CE4D5A0BAED8}" srcOrd="6" destOrd="0" presId="urn:microsoft.com/office/officeart/2005/8/layout/process5"/>
    <dgm:cxn modelId="{025CE82A-43E3-4F8C-BB27-1525E823A151}" type="presParOf" srcId="{4D8136A5-3F30-45AA-B210-E6DC1A363333}" destId="{146D39EE-E291-4A55-A806-C0AAF9B2D750}" srcOrd="7" destOrd="0" presId="urn:microsoft.com/office/officeart/2005/8/layout/process5"/>
    <dgm:cxn modelId="{4E134046-A60B-4A9F-A24E-D6C277428737}" type="presParOf" srcId="{146D39EE-E291-4A55-A806-C0AAF9B2D750}" destId="{0D52AAAC-72B5-4F0D-A479-EE25E91D17FA}" srcOrd="0" destOrd="0" presId="urn:microsoft.com/office/officeart/2005/8/layout/process5"/>
    <dgm:cxn modelId="{12432CFE-1B15-46BA-A155-3B7A89060098}" type="presParOf" srcId="{4D8136A5-3F30-45AA-B210-E6DC1A363333}" destId="{31C59386-C4B7-40D6-B155-A0CC8046E80A}" srcOrd="8" destOrd="0" presId="urn:microsoft.com/office/officeart/2005/8/layout/process5"/>
    <dgm:cxn modelId="{D69F7A9A-8663-4695-A922-04F55B40F1CF}" type="presParOf" srcId="{4D8136A5-3F30-45AA-B210-E6DC1A363333}" destId="{129179D8-F1A1-40F4-9A2C-40E0816CEE97}" srcOrd="9" destOrd="0" presId="urn:microsoft.com/office/officeart/2005/8/layout/process5"/>
    <dgm:cxn modelId="{3CE6FDDA-1AA7-459E-9E5D-625622BD1351}" type="presParOf" srcId="{129179D8-F1A1-40F4-9A2C-40E0816CEE97}" destId="{5C3E99B5-E9A3-407F-8CEC-72BBE218F501}" srcOrd="0" destOrd="0" presId="urn:microsoft.com/office/officeart/2005/8/layout/process5"/>
    <dgm:cxn modelId="{CE462FEC-EAC8-4DF0-9DDA-EC1D6EE0C594}" type="presParOf" srcId="{4D8136A5-3F30-45AA-B210-E6DC1A363333}" destId="{690FBC40-FDDA-4C5F-B2B6-BA82ED89E8AB}" srcOrd="10" destOrd="0" presId="urn:microsoft.com/office/officeart/2005/8/layout/process5"/>
    <dgm:cxn modelId="{B947FB25-0497-43C0-9BC3-AC50C4955200}" type="presParOf" srcId="{4D8136A5-3F30-45AA-B210-E6DC1A363333}" destId="{712EC755-27ED-4385-B25F-5FC38AA796EA}" srcOrd="11" destOrd="0" presId="urn:microsoft.com/office/officeart/2005/8/layout/process5"/>
    <dgm:cxn modelId="{E6EB99E8-4EA8-46E6-B22D-F74604F78639}" type="presParOf" srcId="{712EC755-27ED-4385-B25F-5FC38AA796EA}" destId="{A7C7801C-7FF8-4422-8F86-5DE2EFFBEAC9}" srcOrd="0" destOrd="0" presId="urn:microsoft.com/office/officeart/2005/8/layout/process5"/>
    <dgm:cxn modelId="{7E1F2D6D-2A22-4FE2-931A-CF9724DA24AB}" type="presParOf" srcId="{4D8136A5-3F30-45AA-B210-E6DC1A363333}" destId="{F639EC19-084D-49F5-9E58-EB3628B51725}" srcOrd="12" destOrd="0" presId="urn:microsoft.com/office/officeart/2005/8/layout/process5"/>
    <dgm:cxn modelId="{620E638F-7141-4EA2-832E-0482825D946E}" type="presParOf" srcId="{4D8136A5-3F30-45AA-B210-E6DC1A363333}" destId="{80E0436E-71CC-41C1-8D7D-660629542254}" srcOrd="13" destOrd="0" presId="urn:microsoft.com/office/officeart/2005/8/layout/process5"/>
    <dgm:cxn modelId="{8300DD5E-8A79-4EDE-A9B0-2B21ECCB41A4}" type="presParOf" srcId="{80E0436E-71CC-41C1-8D7D-660629542254}" destId="{BCCD68E4-D387-4246-A939-F70CDD46A379}" srcOrd="0" destOrd="0" presId="urn:microsoft.com/office/officeart/2005/8/layout/process5"/>
    <dgm:cxn modelId="{D0E15FB0-7B00-4FC6-9721-22638221E67B}" type="presParOf" srcId="{4D8136A5-3F30-45AA-B210-E6DC1A363333}" destId="{A3D97B7B-5134-4984-99E5-28CB9B4EF218}" srcOrd="14" destOrd="0" presId="urn:microsoft.com/office/officeart/2005/8/layout/process5"/>
    <dgm:cxn modelId="{6781AD0E-9921-48C5-ACB5-F35B6D008281}" type="presParOf" srcId="{4D8136A5-3F30-45AA-B210-E6DC1A363333}" destId="{93ED5C7C-D354-4B63-B1A5-98F30573BA3F}" srcOrd="15" destOrd="0" presId="urn:microsoft.com/office/officeart/2005/8/layout/process5"/>
    <dgm:cxn modelId="{FC75CD77-13E4-4255-A4F0-C821E11F89C8}" type="presParOf" srcId="{93ED5C7C-D354-4B63-B1A5-98F30573BA3F}" destId="{3F1C6988-5F4F-4DB3-B9AC-112C7018D945}" srcOrd="0" destOrd="0" presId="urn:microsoft.com/office/officeart/2005/8/layout/process5"/>
    <dgm:cxn modelId="{2C428905-431D-4AC7-A879-17A8163A8A67}" type="presParOf" srcId="{4D8136A5-3F30-45AA-B210-E6DC1A363333}" destId="{DCD2E134-18E4-4A63-985E-935770130ECA}" srcOrd="16" destOrd="0" presId="urn:microsoft.com/office/officeart/2005/8/layout/process5"/>
    <dgm:cxn modelId="{49520D86-A19A-4A75-AB6C-C2B87C5AF4E1}" type="presParOf" srcId="{4D8136A5-3F30-45AA-B210-E6DC1A363333}" destId="{34B32203-6E3D-4FC3-8C20-BA232E1118F8}" srcOrd="17" destOrd="0" presId="urn:microsoft.com/office/officeart/2005/8/layout/process5"/>
    <dgm:cxn modelId="{F5735F6A-177A-48A6-8301-B86CF3AC1A7A}" type="presParOf" srcId="{34B32203-6E3D-4FC3-8C20-BA232E1118F8}" destId="{D3222887-04A1-4CCD-8880-440D470B6952}" srcOrd="0" destOrd="0" presId="urn:microsoft.com/office/officeart/2005/8/layout/process5"/>
    <dgm:cxn modelId="{8EB85282-1529-4025-951C-69D14B08A332}" type="presParOf" srcId="{4D8136A5-3F30-45AA-B210-E6DC1A363333}" destId="{3784431B-A1D2-4F51-BAB6-613E7DE2F203}" srcOrd="18" destOrd="0" presId="urn:microsoft.com/office/officeart/2005/8/layout/process5"/>
    <dgm:cxn modelId="{D04FABF0-C223-47FD-8A4D-2E2B8B81E335}" type="presParOf" srcId="{4D8136A5-3F30-45AA-B210-E6DC1A363333}" destId="{62B8C3F5-D24E-4911-9A28-DC73917E4F97}" srcOrd="19" destOrd="0" presId="urn:microsoft.com/office/officeart/2005/8/layout/process5"/>
    <dgm:cxn modelId="{E8B8846A-5823-474B-94CE-6565EC2CB1F5}" type="presParOf" srcId="{62B8C3F5-D24E-4911-9A28-DC73917E4F97}" destId="{DD705FBE-A0A7-4B15-807E-53BFF40C8CD6}" srcOrd="0" destOrd="0" presId="urn:microsoft.com/office/officeart/2005/8/layout/process5"/>
    <dgm:cxn modelId="{D3BA86B1-94F3-4F3E-B5FC-2068C9334D0C}" type="presParOf" srcId="{4D8136A5-3F30-45AA-B210-E6DC1A363333}" destId="{5F5077B9-6403-4CA3-A211-50F26931E7F4}" srcOrd="20" destOrd="0" presId="urn:microsoft.com/office/officeart/2005/8/layout/process5"/>
    <dgm:cxn modelId="{8A76DCD9-3339-4899-B56F-BD72896CC1F1}" type="presParOf" srcId="{4D8136A5-3F30-45AA-B210-E6DC1A363333}" destId="{2BD63230-0B68-46D0-BFFA-9007776AF906}" srcOrd="21" destOrd="0" presId="urn:microsoft.com/office/officeart/2005/8/layout/process5"/>
    <dgm:cxn modelId="{0502EF86-5732-4D92-B2E3-5512CF657793}" type="presParOf" srcId="{2BD63230-0B68-46D0-BFFA-9007776AF906}" destId="{7254C4FA-B3BE-40B0-86D0-7CBEF0045736}" srcOrd="0" destOrd="0" presId="urn:microsoft.com/office/officeart/2005/8/layout/process5"/>
    <dgm:cxn modelId="{C8B34637-77DD-43D9-B8EF-D505D3BD7D96}" type="presParOf" srcId="{4D8136A5-3F30-45AA-B210-E6DC1A363333}" destId="{30C3B839-ABC7-415C-BDBD-002D29D76B3E}" srcOrd="22" destOrd="0" presId="urn:microsoft.com/office/officeart/2005/8/layout/process5"/>
    <dgm:cxn modelId="{840FCAB0-9280-4A1A-BFDA-BAD4CFB9364B}" type="presParOf" srcId="{4D8136A5-3F30-45AA-B210-E6DC1A363333}" destId="{E1AFE8D9-682C-4DBA-96E1-38857C1CB86F}" srcOrd="23" destOrd="0" presId="urn:microsoft.com/office/officeart/2005/8/layout/process5"/>
    <dgm:cxn modelId="{0CBA9104-DCEE-4E47-9B2C-03D3B862B08F}" type="presParOf" srcId="{E1AFE8D9-682C-4DBA-96E1-38857C1CB86F}" destId="{3D86C70B-1475-462B-B230-7E25D8175E4F}" srcOrd="0" destOrd="0" presId="urn:microsoft.com/office/officeart/2005/8/layout/process5"/>
    <dgm:cxn modelId="{AE78AB37-2D61-45CA-9B3F-C0CA7DE1C50E}" type="presParOf" srcId="{4D8136A5-3F30-45AA-B210-E6DC1A363333}" destId="{67F48EE6-9E13-467F-868A-7E25FC77C6D3}" srcOrd="24" destOrd="0" presId="urn:microsoft.com/office/officeart/2005/8/layout/process5"/>
    <dgm:cxn modelId="{A94D2336-36B2-4B19-B27D-8706919C14C0}" type="presParOf" srcId="{4D8136A5-3F30-45AA-B210-E6DC1A363333}" destId="{D77E4194-8596-4B69-A0FF-70ED9CE214D5}" srcOrd="25" destOrd="0" presId="urn:microsoft.com/office/officeart/2005/8/layout/process5"/>
    <dgm:cxn modelId="{8E8AB038-E9CD-461B-A5B3-0A9155083A48}" type="presParOf" srcId="{D77E4194-8596-4B69-A0FF-70ED9CE214D5}" destId="{4C30417D-0060-4510-A3C2-FE8DB92565DB}" srcOrd="0" destOrd="0" presId="urn:microsoft.com/office/officeart/2005/8/layout/process5"/>
    <dgm:cxn modelId="{5067AE9C-7947-4A57-9647-2DDA00309656}" type="presParOf" srcId="{4D8136A5-3F30-45AA-B210-E6DC1A363333}" destId="{F3AB15D3-FABF-4B10-B398-3E5BFB0B7C14}" srcOrd="26" destOrd="0" presId="urn:microsoft.com/office/officeart/2005/8/layout/process5"/>
    <dgm:cxn modelId="{AEDF5FFE-15EE-411A-A60B-FD332C5B35B2}" type="presParOf" srcId="{4D8136A5-3F30-45AA-B210-E6DC1A363333}" destId="{BCC3FB23-5361-48DA-8D73-5F5B8257D0BC}" srcOrd="27" destOrd="0" presId="urn:microsoft.com/office/officeart/2005/8/layout/process5"/>
    <dgm:cxn modelId="{3B9A0999-09B3-4029-925D-EBCB20330A0B}" type="presParOf" srcId="{BCC3FB23-5361-48DA-8D73-5F5B8257D0BC}" destId="{7C720342-5D4D-4662-BB66-7DCB0B22EF19}" srcOrd="0" destOrd="0" presId="urn:microsoft.com/office/officeart/2005/8/layout/process5"/>
    <dgm:cxn modelId="{08731519-11AF-47EB-BEDF-75194917FC16}" type="presParOf" srcId="{4D8136A5-3F30-45AA-B210-E6DC1A363333}" destId="{8E878BC4-8912-4178-9F2E-63BF1ECFFBEA}" srcOrd="28" destOrd="0" presId="urn:microsoft.com/office/officeart/2005/8/layout/process5"/>
    <dgm:cxn modelId="{AB72D09C-DB16-455E-9C3D-36BBA858B0E2}" type="presParOf" srcId="{4D8136A5-3F30-45AA-B210-E6DC1A363333}" destId="{C59C0CB7-149E-4435-B690-0528D8EFBEA5}" srcOrd="29" destOrd="0" presId="urn:microsoft.com/office/officeart/2005/8/layout/process5"/>
    <dgm:cxn modelId="{F8A19CFE-C928-424C-BFD1-E153044F487C}" type="presParOf" srcId="{C59C0CB7-149E-4435-B690-0528D8EFBEA5}" destId="{32E00774-6B19-4CAA-A09B-1A2C4D70DCFA}" srcOrd="0" destOrd="0" presId="urn:microsoft.com/office/officeart/2005/8/layout/process5"/>
    <dgm:cxn modelId="{10AE416F-8A7E-40A2-BA86-670EC0E8DEDD}" type="presParOf" srcId="{4D8136A5-3F30-45AA-B210-E6DC1A363333}" destId="{943BC048-A90D-4D9E-9821-A85ACAC327CA}" srcOrd="30" destOrd="0" presId="urn:microsoft.com/office/officeart/2005/8/layout/process5"/>
    <dgm:cxn modelId="{2055C11C-2B72-4526-A2B1-0958672CA149}" type="presParOf" srcId="{4D8136A5-3F30-45AA-B210-E6DC1A363333}" destId="{62E498A3-2517-45DC-9A8A-B34427D9BB6A}" srcOrd="31" destOrd="0" presId="urn:microsoft.com/office/officeart/2005/8/layout/process5"/>
    <dgm:cxn modelId="{575A9892-4C8F-47E6-9E2F-BF3DF60A10FF}" type="presParOf" srcId="{62E498A3-2517-45DC-9A8A-B34427D9BB6A}" destId="{FECEF29F-53FE-447A-BFEB-12F0A2DF6317}" srcOrd="0" destOrd="0" presId="urn:microsoft.com/office/officeart/2005/8/layout/process5"/>
    <dgm:cxn modelId="{C186222E-37C2-4A60-8F5C-B67F34DFC01B}" type="presParOf" srcId="{4D8136A5-3F30-45AA-B210-E6DC1A363333}" destId="{C2AC126E-D58A-4775-9E89-4DDBC214AEC1}" srcOrd="32" destOrd="0" presId="urn:microsoft.com/office/officeart/2005/8/layout/process5"/>
    <dgm:cxn modelId="{D312A336-7FF5-4F88-80DB-8FAEFEAE8715}" type="presParOf" srcId="{4D8136A5-3F30-45AA-B210-E6DC1A363333}" destId="{65357D0F-DA24-4B22-B866-9C5F45D83539}" srcOrd="33" destOrd="0" presId="urn:microsoft.com/office/officeart/2005/8/layout/process5"/>
    <dgm:cxn modelId="{C80BE870-2243-4ABB-9133-104C318D4AEF}" type="presParOf" srcId="{65357D0F-DA24-4B22-B866-9C5F45D83539}" destId="{1406B004-60F2-4DD9-810B-680BEBC77DF8}" srcOrd="0" destOrd="0" presId="urn:microsoft.com/office/officeart/2005/8/layout/process5"/>
    <dgm:cxn modelId="{DD9B3CB4-BEDA-435C-B1AD-AF07A6D2DE90}" type="presParOf" srcId="{4D8136A5-3F30-45AA-B210-E6DC1A363333}" destId="{D6E5D510-5AE4-40FC-8E5D-C5B3280B3071}" srcOrd="34" destOrd="0" presId="urn:microsoft.com/office/officeart/2005/8/layout/process5"/>
    <dgm:cxn modelId="{F5F167B2-F573-434C-93C4-CE67E552A207}" type="presParOf" srcId="{4D8136A5-3F30-45AA-B210-E6DC1A363333}" destId="{F0D65399-0147-47D5-9455-0DE6DE7AB3D4}" srcOrd="35" destOrd="0" presId="urn:microsoft.com/office/officeart/2005/8/layout/process5"/>
    <dgm:cxn modelId="{38635107-29AD-412B-9CC5-6C72316768D3}" type="presParOf" srcId="{F0D65399-0147-47D5-9455-0DE6DE7AB3D4}" destId="{B0EB730C-F0B6-4ACB-9FE9-C5BD5E852DC9}" srcOrd="0" destOrd="0" presId="urn:microsoft.com/office/officeart/2005/8/layout/process5"/>
    <dgm:cxn modelId="{2C183347-E5D9-4A06-8723-2052A774E882}" type="presParOf" srcId="{4D8136A5-3F30-45AA-B210-E6DC1A363333}" destId="{85255D68-460B-43F3-98F6-D967AFF13228}" srcOrd="36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7AF0873-654F-4510-AB3A-6BCD089DABC3}" type="doc">
      <dgm:prSet loTypeId="urn:microsoft.com/office/officeart/2005/8/layout/process5" loCatId="process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cs-CZ"/>
        </a:p>
      </dgm:t>
    </dgm:pt>
    <dgm:pt modelId="{828DDA33-30BE-4304-96ED-9AEB1F2D1440}">
      <dgm:prSet phldrT="[Text]"/>
      <dgm:spPr>
        <a:solidFill>
          <a:schemeClr val="bg1"/>
        </a:solidFill>
      </dgm:spPr>
      <dgm:t>
        <a:bodyPr/>
        <a:lstStyle/>
        <a:p>
          <a:r>
            <a:rPr lang="cs-CZ" b="0" i="0" dirty="0">
              <a:solidFill>
                <a:schemeClr val="tx1"/>
              </a:solidFill>
            </a:rPr>
            <a:t>Příprava a zahájení procesu</a:t>
          </a:r>
        </a:p>
      </dgm:t>
    </dgm:pt>
    <dgm:pt modelId="{9889BE34-551F-47E7-AC0E-AA0FEE0F020E}" type="parTrans" cxnId="{804E70A9-EA36-491E-B04B-ACF29D2FBDE3}">
      <dgm:prSet/>
      <dgm:spPr/>
      <dgm:t>
        <a:bodyPr/>
        <a:lstStyle/>
        <a:p>
          <a:endParaRPr lang="cs-CZ" b="0" i="0"/>
        </a:p>
      </dgm:t>
    </dgm:pt>
    <dgm:pt modelId="{E05485B6-08D1-4577-8682-F888C3815FF3}" type="sibTrans" cxnId="{804E70A9-EA36-491E-B04B-ACF29D2FBDE3}">
      <dgm:prSet/>
      <dgm:spPr/>
      <dgm:t>
        <a:bodyPr/>
        <a:lstStyle/>
        <a:p>
          <a:endParaRPr lang="cs-CZ" b="0" i="0"/>
        </a:p>
      </dgm:t>
    </dgm:pt>
    <dgm:pt modelId="{47EE3148-0776-456F-9F1A-F35C6A434C88}">
      <dgm:prSet phldrT="[Text]"/>
      <dgm:spPr/>
      <dgm:t>
        <a:bodyPr/>
        <a:lstStyle/>
        <a:p>
          <a:r>
            <a:rPr lang="cs-CZ" b="0" i="0" dirty="0" err="1"/>
            <a:t>Due</a:t>
          </a:r>
          <a:r>
            <a:rPr lang="cs-CZ" b="0" i="0" dirty="0"/>
            <a:t> Diligence (Data </a:t>
          </a:r>
          <a:r>
            <a:rPr lang="cs-CZ" b="0" i="0" dirty="0" err="1"/>
            <a:t>Room</a:t>
          </a:r>
          <a:r>
            <a:rPr lang="cs-CZ" b="0" i="0" dirty="0"/>
            <a:t>)</a:t>
          </a:r>
        </a:p>
      </dgm:t>
    </dgm:pt>
    <dgm:pt modelId="{FD253779-7136-45DA-BE4D-46BB0CC7C935}" type="parTrans" cxnId="{897E43D7-93FE-4C90-9682-63EC0B81F7F6}">
      <dgm:prSet/>
      <dgm:spPr/>
      <dgm:t>
        <a:bodyPr/>
        <a:lstStyle/>
        <a:p>
          <a:endParaRPr lang="cs-CZ" b="0" i="0"/>
        </a:p>
      </dgm:t>
    </dgm:pt>
    <dgm:pt modelId="{C63C4564-8E39-4EA2-BEBF-D5DE288C243E}" type="sibTrans" cxnId="{897E43D7-93FE-4C90-9682-63EC0B81F7F6}">
      <dgm:prSet/>
      <dgm:spPr/>
      <dgm:t>
        <a:bodyPr/>
        <a:lstStyle/>
        <a:p>
          <a:endParaRPr lang="cs-CZ" b="0" i="0"/>
        </a:p>
      </dgm:t>
    </dgm:pt>
    <dgm:pt modelId="{E36F3098-A487-4F3C-9358-D52BB6453AE9}">
      <dgm:prSet phldrT="[Text]"/>
      <dgm:spPr/>
      <dgm:t>
        <a:bodyPr/>
        <a:lstStyle/>
        <a:p>
          <a:r>
            <a:rPr lang="cs-CZ" b="0" i="0" dirty="0"/>
            <a:t>Návrh kupní smlouvy (</a:t>
          </a:r>
          <a:r>
            <a:rPr lang="cs-CZ" b="0" i="0" dirty="0" err="1"/>
            <a:t>SPA</a:t>
          </a:r>
          <a:r>
            <a:rPr lang="cs-CZ" b="0" i="0" dirty="0"/>
            <a:t>)</a:t>
          </a:r>
        </a:p>
      </dgm:t>
    </dgm:pt>
    <dgm:pt modelId="{9696FCA6-6BFA-4740-AE3B-083B50C6A2D7}" type="parTrans" cxnId="{DE37A468-AE50-49A7-BCB3-297A95A94BD3}">
      <dgm:prSet/>
      <dgm:spPr/>
      <dgm:t>
        <a:bodyPr/>
        <a:lstStyle/>
        <a:p>
          <a:endParaRPr lang="cs-CZ" b="0" i="0"/>
        </a:p>
      </dgm:t>
    </dgm:pt>
    <dgm:pt modelId="{CA084B63-C96F-4D82-BB5B-8CE34F4C5753}" type="sibTrans" cxnId="{DE37A468-AE50-49A7-BCB3-297A95A94BD3}">
      <dgm:prSet/>
      <dgm:spPr/>
      <dgm:t>
        <a:bodyPr/>
        <a:lstStyle/>
        <a:p>
          <a:endParaRPr lang="cs-CZ" b="0" i="0"/>
        </a:p>
      </dgm:t>
    </dgm:pt>
    <dgm:pt modelId="{5404560D-1EFB-4624-945D-4DD8989990AA}">
      <dgm:prSet phldrT="[Text]"/>
      <dgm:spPr/>
      <dgm:t>
        <a:bodyPr/>
        <a:lstStyle/>
        <a:p>
          <a:r>
            <a:rPr lang="cs-CZ" b="0" i="0" dirty="0"/>
            <a:t>Vypořádání (</a:t>
          </a:r>
          <a:r>
            <a:rPr lang="cs-CZ" b="0" i="0" dirty="0" err="1"/>
            <a:t>Closing</a:t>
          </a:r>
          <a:r>
            <a:rPr lang="cs-CZ" b="0" i="0" dirty="0"/>
            <a:t>)</a:t>
          </a:r>
        </a:p>
      </dgm:t>
    </dgm:pt>
    <dgm:pt modelId="{A6F9399C-F054-42CD-AF06-B73D12F69D7A}" type="parTrans" cxnId="{637455A0-BCEF-4CC8-AA16-4A2F403EF6B6}">
      <dgm:prSet/>
      <dgm:spPr/>
      <dgm:t>
        <a:bodyPr/>
        <a:lstStyle/>
        <a:p>
          <a:endParaRPr lang="cs-CZ" b="0" i="0"/>
        </a:p>
      </dgm:t>
    </dgm:pt>
    <dgm:pt modelId="{B3305FBD-2A98-4A5D-9448-5B552679D00A}" type="sibTrans" cxnId="{637455A0-BCEF-4CC8-AA16-4A2F403EF6B6}">
      <dgm:prSet/>
      <dgm:spPr/>
      <dgm:t>
        <a:bodyPr/>
        <a:lstStyle/>
        <a:p>
          <a:endParaRPr lang="cs-CZ" b="0" i="0"/>
        </a:p>
      </dgm:t>
    </dgm:pt>
    <dgm:pt modelId="{44BCA2F7-4DFE-40B0-BF36-395295EDAF37}">
      <dgm:prSet phldrT="[Text]"/>
      <dgm:spPr/>
      <dgm:t>
        <a:bodyPr/>
        <a:lstStyle/>
        <a:p>
          <a:r>
            <a:rPr lang="cs-CZ" b="0" i="0" dirty="0"/>
            <a:t>Úpravy ceny / </a:t>
          </a:r>
          <a:r>
            <a:rPr lang="cs-CZ" b="0" i="0" dirty="0" err="1"/>
            <a:t>Closing</a:t>
          </a:r>
          <a:r>
            <a:rPr lang="cs-CZ" b="0" i="0" dirty="0"/>
            <a:t> </a:t>
          </a:r>
          <a:r>
            <a:rPr lang="cs-CZ" b="0" i="0" dirty="0" err="1"/>
            <a:t>Accounts</a:t>
          </a:r>
          <a:endParaRPr lang="cs-CZ" b="0" i="0" dirty="0"/>
        </a:p>
      </dgm:t>
    </dgm:pt>
    <dgm:pt modelId="{234B0C10-ADBC-4532-939F-A8C683BC36CE}" type="parTrans" cxnId="{6D7D6F01-4333-4756-8396-7FC49A3670C0}">
      <dgm:prSet/>
      <dgm:spPr/>
      <dgm:t>
        <a:bodyPr/>
        <a:lstStyle/>
        <a:p>
          <a:endParaRPr lang="cs-CZ" b="0" i="0"/>
        </a:p>
      </dgm:t>
    </dgm:pt>
    <dgm:pt modelId="{1A483732-DEE2-49AC-8401-AC4547915754}" type="sibTrans" cxnId="{6D7D6F01-4333-4756-8396-7FC49A3670C0}">
      <dgm:prSet/>
      <dgm:spPr/>
      <dgm:t>
        <a:bodyPr/>
        <a:lstStyle/>
        <a:p>
          <a:endParaRPr lang="cs-CZ" b="0" i="0"/>
        </a:p>
      </dgm:t>
    </dgm:pt>
    <dgm:pt modelId="{553D5A18-350A-4DE4-801A-BA63244DF558}">
      <dgm:prSet phldrT="[Text]"/>
      <dgm:spPr>
        <a:solidFill>
          <a:schemeClr val="bg1"/>
        </a:solidFill>
      </dgm:spPr>
      <dgm:t>
        <a:bodyPr/>
        <a:lstStyle/>
        <a:p>
          <a:r>
            <a:rPr lang="cs-CZ" b="0" i="0" dirty="0"/>
            <a:t>Následné podmínky / </a:t>
          </a:r>
          <a:r>
            <a:rPr lang="cs-CZ" b="0" i="0" dirty="0" err="1"/>
            <a:t>CSs</a:t>
          </a:r>
          <a:endParaRPr lang="cs-CZ" b="0" i="0" dirty="0"/>
        </a:p>
      </dgm:t>
    </dgm:pt>
    <dgm:pt modelId="{F04A867C-C9DF-4817-B7C1-5ADA3A0294E9}" type="parTrans" cxnId="{D8A83B5A-B7FD-4E95-96C6-CDEAEE73EBDA}">
      <dgm:prSet/>
      <dgm:spPr/>
      <dgm:t>
        <a:bodyPr/>
        <a:lstStyle/>
        <a:p>
          <a:endParaRPr lang="cs-CZ" b="0" i="0"/>
        </a:p>
      </dgm:t>
    </dgm:pt>
    <dgm:pt modelId="{A03E3999-B985-4024-BAA2-419DE862652E}" type="sibTrans" cxnId="{D8A83B5A-B7FD-4E95-96C6-CDEAEE73EBDA}">
      <dgm:prSet/>
      <dgm:spPr/>
      <dgm:t>
        <a:bodyPr/>
        <a:lstStyle/>
        <a:p>
          <a:endParaRPr lang="cs-CZ" b="0" i="0"/>
        </a:p>
      </dgm:t>
    </dgm:pt>
    <dgm:pt modelId="{89CBCCFC-6C22-4178-B8E1-81BF7B748E76}">
      <dgm:prSet/>
      <dgm:spPr/>
      <dgm:t>
        <a:bodyPr/>
        <a:lstStyle/>
        <a:p>
          <a:r>
            <a:rPr lang="cs-CZ" b="0" i="0" dirty="0"/>
            <a:t>Vyhledání a oslovení zájemce</a:t>
          </a:r>
        </a:p>
      </dgm:t>
    </dgm:pt>
    <dgm:pt modelId="{A0D5F88D-1DB9-4233-A2EF-82F593464D50}" type="parTrans" cxnId="{B1400948-C942-4F42-BD14-199378937220}">
      <dgm:prSet/>
      <dgm:spPr/>
      <dgm:t>
        <a:bodyPr/>
        <a:lstStyle/>
        <a:p>
          <a:endParaRPr lang="cs-CZ" b="0" i="0"/>
        </a:p>
      </dgm:t>
    </dgm:pt>
    <dgm:pt modelId="{D65FE824-26ED-4D52-961F-7E457BF69F6F}" type="sibTrans" cxnId="{B1400948-C942-4F42-BD14-199378937220}">
      <dgm:prSet/>
      <dgm:spPr/>
      <dgm:t>
        <a:bodyPr/>
        <a:lstStyle/>
        <a:p>
          <a:endParaRPr lang="cs-CZ" b="0" i="0"/>
        </a:p>
      </dgm:t>
    </dgm:pt>
    <dgm:pt modelId="{CD1244F4-66CB-4D8B-9E9B-AE3EB96C182A}">
      <dgm:prSet phldrT="[Text]"/>
      <dgm:spPr/>
      <dgm:t>
        <a:bodyPr/>
        <a:lstStyle/>
        <a:p>
          <a:r>
            <a:rPr lang="cs-CZ" b="0" i="0" dirty="0"/>
            <a:t>Dohoda o mlčenlivosti (</a:t>
          </a:r>
          <a:r>
            <a:rPr lang="cs-CZ" b="0" i="0" dirty="0" err="1"/>
            <a:t>NDA</a:t>
          </a:r>
          <a:r>
            <a:rPr lang="cs-CZ" b="0" i="0" dirty="0"/>
            <a:t>)</a:t>
          </a:r>
        </a:p>
      </dgm:t>
    </dgm:pt>
    <dgm:pt modelId="{90834F6D-9528-41EE-8FC9-5D8C5006376C}" type="parTrans" cxnId="{6DAB374B-6E26-450D-BEBE-97495456D143}">
      <dgm:prSet/>
      <dgm:spPr/>
      <dgm:t>
        <a:bodyPr/>
        <a:lstStyle/>
        <a:p>
          <a:endParaRPr lang="cs-CZ" b="0" i="0"/>
        </a:p>
      </dgm:t>
    </dgm:pt>
    <dgm:pt modelId="{FC464D58-97C5-47A6-91FD-DB758F23CE4E}" type="sibTrans" cxnId="{6DAB374B-6E26-450D-BEBE-97495456D143}">
      <dgm:prSet/>
      <dgm:spPr/>
      <dgm:t>
        <a:bodyPr/>
        <a:lstStyle/>
        <a:p>
          <a:endParaRPr lang="cs-CZ" b="0" i="0"/>
        </a:p>
      </dgm:t>
    </dgm:pt>
    <dgm:pt modelId="{083A116A-8B71-4FB5-878D-7FD48B447B40}">
      <dgm:prSet/>
      <dgm:spPr/>
      <dgm:t>
        <a:bodyPr/>
        <a:lstStyle/>
        <a:p>
          <a:r>
            <a:rPr lang="cs-CZ" b="0" i="0" dirty="0"/>
            <a:t>Informační Memorandum, Management </a:t>
          </a:r>
          <a:r>
            <a:rPr lang="cs-CZ" b="0" i="0" dirty="0" err="1"/>
            <a:t>Presentations</a:t>
          </a:r>
          <a:endParaRPr lang="cs-CZ" b="0" i="0" dirty="0"/>
        </a:p>
      </dgm:t>
    </dgm:pt>
    <dgm:pt modelId="{504F7A39-417D-40CD-939B-9AAD401AF2F2}" type="parTrans" cxnId="{9859E7B5-966F-4169-9900-671C436A41BF}">
      <dgm:prSet/>
      <dgm:spPr/>
      <dgm:t>
        <a:bodyPr/>
        <a:lstStyle/>
        <a:p>
          <a:endParaRPr lang="cs-CZ" b="0" i="0"/>
        </a:p>
      </dgm:t>
    </dgm:pt>
    <dgm:pt modelId="{3FC39E48-8331-43A2-AF6A-256B73F47CB1}" type="sibTrans" cxnId="{9859E7B5-966F-4169-9900-671C436A41BF}">
      <dgm:prSet/>
      <dgm:spPr/>
      <dgm:t>
        <a:bodyPr/>
        <a:lstStyle/>
        <a:p>
          <a:endParaRPr lang="cs-CZ" b="0" i="0"/>
        </a:p>
      </dgm:t>
    </dgm:pt>
    <dgm:pt modelId="{93C1800D-0E62-4BB2-ABD2-DA7F876B2756}">
      <dgm:prSet phldrT="[Text]"/>
      <dgm:spPr>
        <a:solidFill>
          <a:srgbClr val="FF0000"/>
        </a:solidFill>
      </dgm:spPr>
      <dgm:t>
        <a:bodyPr/>
        <a:lstStyle/>
        <a:p>
          <a:r>
            <a:rPr lang="cs-CZ" b="1" i="0" dirty="0" err="1"/>
            <a:t>LoI</a:t>
          </a:r>
          <a:r>
            <a:rPr lang="cs-CZ" b="1" i="0" dirty="0"/>
            <a:t> </a:t>
          </a:r>
        </a:p>
        <a:p>
          <a:r>
            <a:rPr lang="cs-CZ" b="1" i="0" dirty="0"/>
            <a:t>nebo </a:t>
          </a:r>
        </a:p>
        <a:p>
          <a:r>
            <a:rPr lang="cs-CZ" b="1" i="0" dirty="0"/>
            <a:t>Term-</a:t>
          </a:r>
          <a:r>
            <a:rPr lang="cs-CZ" b="1" i="0" dirty="0" err="1"/>
            <a:t>Sheet</a:t>
          </a:r>
          <a:endParaRPr lang="cs-CZ" b="1" i="0" dirty="0"/>
        </a:p>
      </dgm:t>
    </dgm:pt>
    <dgm:pt modelId="{10C331F2-582C-4E9E-91FA-998D52E6398E}" type="parTrans" cxnId="{8E3C1204-1061-427E-8D33-329C62E504E2}">
      <dgm:prSet/>
      <dgm:spPr/>
      <dgm:t>
        <a:bodyPr/>
        <a:lstStyle/>
        <a:p>
          <a:endParaRPr lang="cs-CZ" b="0" i="0"/>
        </a:p>
      </dgm:t>
    </dgm:pt>
    <dgm:pt modelId="{11003004-D867-45DB-B8EC-C4A44486952A}" type="sibTrans" cxnId="{8E3C1204-1061-427E-8D33-329C62E504E2}">
      <dgm:prSet/>
      <dgm:spPr/>
      <dgm:t>
        <a:bodyPr/>
        <a:lstStyle/>
        <a:p>
          <a:endParaRPr lang="cs-CZ" b="0" i="0"/>
        </a:p>
      </dgm:t>
    </dgm:pt>
    <dgm:pt modelId="{99ADBFAE-BFD6-4EC6-862A-0AD1BE585FA5}">
      <dgm:prSet phldrT="[Text]"/>
      <dgm:spPr/>
      <dgm:t>
        <a:bodyPr/>
        <a:lstStyle/>
        <a:p>
          <a:r>
            <a:rPr lang="cs-CZ" b="0" i="0" dirty="0"/>
            <a:t>Jednání, dohoda („</a:t>
          </a:r>
          <a:r>
            <a:rPr lang="cs-CZ" b="0" i="0" dirty="0" err="1"/>
            <a:t>Agreed</a:t>
          </a:r>
          <a:r>
            <a:rPr lang="cs-CZ" b="0" i="0" dirty="0"/>
            <a:t> </a:t>
          </a:r>
          <a:r>
            <a:rPr lang="cs-CZ" b="0" i="0" dirty="0" err="1"/>
            <a:t>form</a:t>
          </a:r>
          <a:r>
            <a:rPr lang="cs-CZ" b="0" i="0" dirty="0"/>
            <a:t> </a:t>
          </a:r>
          <a:r>
            <a:rPr lang="cs-CZ" b="0" i="0" dirty="0" err="1"/>
            <a:t>SPA</a:t>
          </a:r>
          <a:r>
            <a:rPr lang="cs-CZ" b="0" i="0" dirty="0"/>
            <a:t>“)</a:t>
          </a:r>
        </a:p>
      </dgm:t>
    </dgm:pt>
    <dgm:pt modelId="{BCB1D8C4-BBD6-4376-BF98-1ECFDDAB2AC9}" type="parTrans" cxnId="{4FC943E2-C3F8-40A5-863A-9C9DD599D656}">
      <dgm:prSet/>
      <dgm:spPr/>
      <dgm:t>
        <a:bodyPr/>
        <a:lstStyle/>
        <a:p>
          <a:endParaRPr lang="cs-CZ" b="0" i="0"/>
        </a:p>
      </dgm:t>
    </dgm:pt>
    <dgm:pt modelId="{F97EB4DB-AAAB-405E-AFD2-5BD91C301B50}" type="sibTrans" cxnId="{4FC943E2-C3F8-40A5-863A-9C9DD599D656}">
      <dgm:prSet/>
      <dgm:spPr/>
      <dgm:t>
        <a:bodyPr/>
        <a:lstStyle/>
        <a:p>
          <a:endParaRPr lang="cs-CZ" b="0" i="0"/>
        </a:p>
      </dgm:t>
    </dgm:pt>
    <dgm:pt modelId="{A188EE17-6569-4849-8482-64537CB36C5B}">
      <dgm:prSet phldrT="[Text]"/>
      <dgm:spPr/>
      <dgm:t>
        <a:bodyPr/>
        <a:lstStyle/>
        <a:p>
          <a:r>
            <a:rPr lang="cs-CZ" b="0" i="0" dirty="0"/>
            <a:t>Podpis (</a:t>
          </a:r>
          <a:r>
            <a:rPr lang="cs-CZ" b="0" i="0" dirty="0" err="1"/>
            <a:t>Signing</a:t>
          </a:r>
          <a:r>
            <a:rPr lang="cs-CZ" b="0" i="0" dirty="0"/>
            <a:t>)</a:t>
          </a:r>
        </a:p>
      </dgm:t>
    </dgm:pt>
    <dgm:pt modelId="{6BEB942D-751A-4204-8E41-53C894ADD3AE}" type="parTrans" cxnId="{F694600F-0DF1-4776-BB10-E5F83D5B3DB8}">
      <dgm:prSet/>
      <dgm:spPr/>
      <dgm:t>
        <a:bodyPr/>
        <a:lstStyle/>
        <a:p>
          <a:endParaRPr lang="cs-CZ" b="0" i="0"/>
        </a:p>
      </dgm:t>
    </dgm:pt>
    <dgm:pt modelId="{D5C32E86-9FB6-4CDB-8C95-54A227901A9D}" type="sibTrans" cxnId="{F694600F-0DF1-4776-BB10-E5F83D5B3DB8}">
      <dgm:prSet/>
      <dgm:spPr/>
      <dgm:t>
        <a:bodyPr/>
        <a:lstStyle/>
        <a:p>
          <a:endParaRPr lang="cs-CZ" b="0" i="0"/>
        </a:p>
      </dgm:t>
    </dgm:pt>
    <dgm:pt modelId="{13527068-A1CA-458F-B588-2D30F318AE6A}">
      <dgm:prSet phldrT="[Text]"/>
      <dgm:spPr/>
      <dgm:t>
        <a:bodyPr/>
        <a:lstStyle/>
        <a:p>
          <a:r>
            <a:rPr lang="cs-CZ" b="0" i="0" dirty="0"/>
            <a:t>Odkládací podmínky / </a:t>
          </a:r>
          <a:r>
            <a:rPr lang="cs-CZ" b="0" i="0" dirty="0" err="1"/>
            <a:t>CPs</a:t>
          </a:r>
          <a:endParaRPr lang="cs-CZ" b="0" i="0" dirty="0"/>
        </a:p>
      </dgm:t>
    </dgm:pt>
    <dgm:pt modelId="{43A47178-86D8-4A4C-8EC6-4F84B75EA0E7}" type="parTrans" cxnId="{D0350935-0E66-4C95-B462-CB6E5AFA8B50}">
      <dgm:prSet/>
      <dgm:spPr/>
      <dgm:t>
        <a:bodyPr/>
        <a:lstStyle/>
        <a:p>
          <a:endParaRPr lang="cs-CZ" b="0" i="0"/>
        </a:p>
      </dgm:t>
    </dgm:pt>
    <dgm:pt modelId="{3BD8E6D3-DBF4-4F74-B762-27FF01389575}" type="sibTrans" cxnId="{D0350935-0E66-4C95-B462-CB6E5AFA8B50}">
      <dgm:prSet/>
      <dgm:spPr/>
      <dgm:t>
        <a:bodyPr/>
        <a:lstStyle/>
        <a:p>
          <a:endParaRPr lang="cs-CZ" b="0" i="0"/>
        </a:p>
      </dgm:t>
    </dgm:pt>
    <dgm:pt modelId="{4D8136A5-3F30-45AA-B210-E6DC1A363333}" type="pres">
      <dgm:prSet presAssocID="{67AF0873-654F-4510-AB3A-6BCD089DABC3}" presName="diagram" presStyleCnt="0">
        <dgm:presLayoutVars>
          <dgm:dir/>
          <dgm:resizeHandles val="exact"/>
        </dgm:presLayoutVars>
      </dgm:prSet>
      <dgm:spPr/>
    </dgm:pt>
    <dgm:pt modelId="{2B32E410-3365-494B-A367-1744D2F2D527}" type="pres">
      <dgm:prSet presAssocID="{828DDA33-30BE-4304-96ED-9AEB1F2D1440}" presName="node" presStyleLbl="node1" presStyleIdx="0" presStyleCnt="13">
        <dgm:presLayoutVars>
          <dgm:bulletEnabled val="1"/>
        </dgm:presLayoutVars>
      </dgm:prSet>
      <dgm:spPr/>
    </dgm:pt>
    <dgm:pt modelId="{85E440E1-6AC4-4872-8CDB-AACE7C1CF22B}" type="pres">
      <dgm:prSet presAssocID="{E05485B6-08D1-4577-8682-F888C3815FF3}" presName="sibTrans" presStyleLbl="sibTrans2D1" presStyleIdx="0" presStyleCnt="12"/>
      <dgm:spPr/>
    </dgm:pt>
    <dgm:pt modelId="{E899C35B-C03D-43B4-97ED-B99E3109D9FD}" type="pres">
      <dgm:prSet presAssocID="{E05485B6-08D1-4577-8682-F888C3815FF3}" presName="connectorText" presStyleLbl="sibTrans2D1" presStyleIdx="0" presStyleCnt="12"/>
      <dgm:spPr/>
    </dgm:pt>
    <dgm:pt modelId="{3302F8D1-6174-43B6-80F6-7ABEF5395251}" type="pres">
      <dgm:prSet presAssocID="{89CBCCFC-6C22-4178-B8E1-81BF7B748E76}" presName="node" presStyleLbl="node1" presStyleIdx="1" presStyleCnt="13">
        <dgm:presLayoutVars>
          <dgm:bulletEnabled val="1"/>
        </dgm:presLayoutVars>
      </dgm:prSet>
      <dgm:spPr/>
    </dgm:pt>
    <dgm:pt modelId="{1C1576F0-F965-43CA-B32A-271CCC8BBE86}" type="pres">
      <dgm:prSet presAssocID="{D65FE824-26ED-4D52-961F-7E457BF69F6F}" presName="sibTrans" presStyleLbl="sibTrans2D1" presStyleIdx="1" presStyleCnt="12"/>
      <dgm:spPr/>
    </dgm:pt>
    <dgm:pt modelId="{85F8F4F9-A189-4398-A8B3-F2745C1D6428}" type="pres">
      <dgm:prSet presAssocID="{D65FE824-26ED-4D52-961F-7E457BF69F6F}" presName="connectorText" presStyleLbl="sibTrans2D1" presStyleIdx="1" presStyleCnt="12"/>
      <dgm:spPr/>
    </dgm:pt>
    <dgm:pt modelId="{31C59386-C4B7-40D6-B155-A0CC8046E80A}" type="pres">
      <dgm:prSet presAssocID="{CD1244F4-66CB-4D8B-9E9B-AE3EB96C182A}" presName="node" presStyleLbl="node1" presStyleIdx="2" presStyleCnt="13">
        <dgm:presLayoutVars>
          <dgm:bulletEnabled val="1"/>
        </dgm:presLayoutVars>
      </dgm:prSet>
      <dgm:spPr/>
    </dgm:pt>
    <dgm:pt modelId="{129179D8-F1A1-40F4-9A2C-40E0816CEE97}" type="pres">
      <dgm:prSet presAssocID="{FC464D58-97C5-47A6-91FD-DB758F23CE4E}" presName="sibTrans" presStyleLbl="sibTrans2D1" presStyleIdx="2" presStyleCnt="12"/>
      <dgm:spPr/>
    </dgm:pt>
    <dgm:pt modelId="{5C3E99B5-E9A3-407F-8CEC-72BBE218F501}" type="pres">
      <dgm:prSet presAssocID="{FC464D58-97C5-47A6-91FD-DB758F23CE4E}" presName="connectorText" presStyleLbl="sibTrans2D1" presStyleIdx="2" presStyleCnt="12"/>
      <dgm:spPr/>
    </dgm:pt>
    <dgm:pt modelId="{690FBC40-FDDA-4C5F-B2B6-BA82ED89E8AB}" type="pres">
      <dgm:prSet presAssocID="{083A116A-8B71-4FB5-878D-7FD48B447B40}" presName="node" presStyleLbl="node1" presStyleIdx="3" presStyleCnt="13">
        <dgm:presLayoutVars>
          <dgm:bulletEnabled val="1"/>
        </dgm:presLayoutVars>
      </dgm:prSet>
      <dgm:spPr/>
    </dgm:pt>
    <dgm:pt modelId="{712EC755-27ED-4385-B25F-5FC38AA796EA}" type="pres">
      <dgm:prSet presAssocID="{3FC39E48-8331-43A2-AF6A-256B73F47CB1}" presName="sibTrans" presStyleLbl="sibTrans2D1" presStyleIdx="3" presStyleCnt="12"/>
      <dgm:spPr/>
    </dgm:pt>
    <dgm:pt modelId="{A7C7801C-7FF8-4422-8F86-5DE2EFFBEAC9}" type="pres">
      <dgm:prSet presAssocID="{3FC39E48-8331-43A2-AF6A-256B73F47CB1}" presName="connectorText" presStyleLbl="sibTrans2D1" presStyleIdx="3" presStyleCnt="12"/>
      <dgm:spPr/>
    </dgm:pt>
    <dgm:pt modelId="{A3D97B7B-5134-4984-99E5-28CB9B4EF218}" type="pres">
      <dgm:prSet presAssocID="{93C1800D-0E62-4BB2-ABD2-DA7F876B2756}" presName="node" presStyleLbl="node1" presStyleIdx="4" presStyleCnt="13">
        <dgm:presLayoutVars>
          <dgm:bulletEnabled val="1"/>
        </dgm:presLayoutVars>
      </dgm:prSet>
      <dgm:spPr/>
    </dgm:pt>
    <dgm:pt modelId="{93ED5C7C-D354-4B63-B1A5-98F30573BA3F}" type="pres">
      <dgm:prSet presAssocID="{11003004-D867-45DB-B8EC-C4A44486952A}" presName="sibTrans" presStyleLbl="sibTrans2D1" presStyleIdx="4" presStyleCnt="12"/>
      <dgm:spPr/>
    </dgm:pt>
    <dgm:pt modelId="{3F1C6988-5F4F-4DB3-B9AC-112C7018D945}" type="pres">
      <dgm:prSet presAssocID="{11003004-D867-45DB-B8EC-C4A44486952A}" presName="connectorText" presStyleLbl="sibTrans2D1" presStyleIdx="4" presStyleCnt="12"/>
      <dgm:spPr/>
    </dgm:pt>
    <dgm:pt modelId="{DCD2E134-18E4-4A63-985E-935770130ECA}" type="pres">
      <dgm:prSet presAssocID="{47EE3148-0776-456F-9F1A-F35C6A434C88}" presName="node" presStyleLbl="node1" presStyleIdx="5" presStyleCnt="13">
        <dgm:presLayoutVars>
          <dgm:bulletEnabled val="1"/>
        </dgm:presLayoutVars>
      </dgm:prSet>
      <dgm:spPr/>
    </dgm:pt>
    <dgm:pt modelId="{34B32203-6E3D-4FC3-8C20-BA232E1118F8}" type="pres">
      <dgm:prSet presAssocID="{C63C4564-8E39-4EA2-BEBF-D5DE288C243E}" presName="sibTrans" presStyleLbl="sibTrans2D1" presStyleIdx="5" presStyleCnt="12"/>
      <dgm:spPr/>
    </dgm:pt>
    <dgm:pt modelId="{D3222887-04A1-4CCD-8880-440D470B6952}" type="pres">
      <dgm:prSet presAssocID="{C63C4564-8E39-4EA2-BEBF-D5DE288C243E}" presName="connectorText" presStyleLbl="sibTrans2D1" presStyleIdx="5" presStyleCnt="12"/>
      <dgm:spPr/>
    </dgm:pt>
    <dgm:pt modelId="{3784431B-A1D2-4F51-BAB6-613E7DE2F203}" type="pres">
      <dgm:prSet presAssocID="{E36F3098-A487-4F3C-9358-D52BB6453AE9}" presName="node" presStyleLbl="node1" presStyleIdx="6" presStyleCnt="13">
        <dgm:presLayoutVars>
          <dgm:bulletEnabled val="1"/>
        </dgm:presLayoutVars>
      </dgm:prSet>
      <dgm:spPr/>
    </dgm:pt>
    <dgm:pt modelId="{62B8C3F5-D24E-4911-9A28-DC73917E4F97}" type="pres">
      <dgm:prSet presAssocID="{CA084B63-C96F-4D82-BB5B-8CE34F4C5753}" presName="sibTrans" presStyleLbl="sibTrans2D1" presStyleIdx="6" presStyleCnt="12"/>
      <dgm:spPr/>
    </dgm:pt>
    <dgm:pt modelId="{DD705FBE-A0A7-4B15-807E-53BFF40C8CD6}" type="pres">
      <dgm:prSet presAssocID="{CA084B63-C96F-4D82-BB5B-8CE34F4C5753}" presName="connectorText" presStyleLbl="sibTrans2D1" presStyleIdx="6" presStyleCnt="12"/>
      <dgm:spPr/>
    </dgm:pt>
    <dgm:pt modelId="{F3AB15D3-FABF-4B10-B398-3E5BFB0B7C14}" type="pres">
      <dgm:prSet presAssocID="{99ADBFAE-BFD6-4EC6-862A-0AD1BE585FA5}" presName="node" presStyleLbl="node1" presStyleIdx="7" presStyleCnt="13">
        <dgm:presLayoutVars>
          <dgm:bulletEnabled val="1"/>
        </dgm:presLayoutVars>
      </dgm:prSet>
      <dgm:spPr/>
    </dgm:pt>
    <dgm:pt modelId="{BCC3FB23-5361-48DA-8D73-5F5B8257D0BC}" type="pres">
      <dgm:prSet presAssocID="{F97EB4DB-AAAB-405E-AFD2-5BD91C301B50}" presName="sibTrans" presStyleLbl="sibTrans2D1" presStyleIdx="7" presStyleCnt="12"/>
      <dgm:spPr/>
    </dgm:pt>
    <dgm:pt modelId="{7C720342-5D4D-4662-BB66-7DCB0B22EF19}" type="pres">
      <dgm:prSet presAssocID="{F97EB4DB-AAAB-405E-AFD2-5BD91C301B50}" presName="connectorText" presStyleLbl="sibTrans2D1" presStyleIdx="7" presStyleCnt="12"/>
      <dgm:spPr/>
    </dgm:pt>
    <dgm:pt modelId="{8E878BC4-8912-4178-9F2E-63BF1ECFFBEA}" type="pres">
      <dgm:prSet presAssocID="{A188EE17-6569-4849-8482-64537CB36C5B}" presName="node" presStyleLbl="node1" presStyleIdx="8" presStyleCnt="13">
        <dgm:presLayoutVars>
          <dgm:bulletEnabled val="1"/>
        </dgm:presLayoutVars>
      </dgm:prSet>
      <dgm:spPr/>
    </dgm:pt>
    <dgm:pt modelId="{C59C0CB7-149E-4435-B690-0528D8EFBEA5}" type="pres">
      <dgm:prSet presAssocID="{D5C32E86-9FB6-4CDB-8C95-54A227901A9D}" presName="sibTrans" presStyleLbl="sibTrans2D1" presStyleIdx="8" presStyleCnt="12"/>
      <dgm:spPr/>
    </dgm:pt>
    <dgm:pt modelId="{32E00774-6B19-4CAA-A09B-1A2C4D70DCFA}" type="pres">
      <dgm:prSet presAssocID="{D5C32E86-9FB6-4CDB-8C95-54A227901A9D}" presName="connectorText" presStyleLbl="sibTrans2D1" presStyleIdx="8" presStyleCnt="12"/>
      <dgm:spPr/>
    </dgm:pt>
    <dgm:pt modelId="{943BC048-A90D-4D9E-9821-A85ACAC327CA}" type="pres">
      <dgm:prSet presAssocID="{13527068-A1CA-458F-B588-2D30F318AE6A}" presName="node" presStyleLbl="node1" presStyleIdx="9" presStyleCnt="13">
        <dgm:presLayoutVars>
          <dgm:bulletEnabled val="1"/>
        </dgm:presLayoutVars>
      </dgm:prSet>
      <dgm:spPr/>
    </dgm:pt>
    <dgm:pt modelId="{62E498A3-2517-45DC-9A8A-B34427D9BB6A}" type="pres">
      <dgm:prSet presAssocID="{3BD8E6D3-DBF4-4F74-B762-27FF01389575}" presName="sibTrans" presStyleLbl="sibTrans2D1" presStyleIdx="9" presStyleCnt="12"/>
      <dgm:spPr/>
    </dgm:pt>
    <dgm:pt modelId="{FECEF29F-53FE-447A-BFEB-12F0A2DF6317}" type="pres">
      <dgm:prSet presAssocID="{3BD8E6D3-DBF4-4F74-B762-27FF01389575}" presName="connectorText" presStyleLbl="sibTrans2D1" presStyleIdx="9" presStyleCnt="12"/>
      <dgm:spPr/>
    </dgm:pt>
    <dgm:pt modelId="{C2AC126E-D58A-4775-9E89-4DDBC214AEC1}" type="pres">
      <dgm:prSet presAssocID="{5404560D-1EFB-4624-945D-4DD8989990AA}" presName="node" presStyleLbl="node1" presStyleIdx="10" presStyleCnt="13">
        <dgm:presLayoutVars>
          <dgm:bulletEnabled val="1"/>
        </dgm:presLayoutVars>
      </dgm:prSet>
      <dgm:spPr/>
    </dgm:pt>
    <dgm:pt modelId="{65357D0F-DA24-4B22-B866-9C5F45D83539}" type="pres">
      <dgm:prSet presAssocID="{B3305FBD-2A98-4A5D-9448-5B552679D00A}" presName="sibTrans" presStyleLbl="sibTrans2D1" presStyleIdx="10" presStyleCnt="12"/>
      <dgm:spPr/>
    </dgm:pt>
    <dgm:pt modelId="{1406B004-60F2-4DD9-810B-680BEBC77DF8}" type="pres">
      <dgm:prSet presAssocID="{B3305FBD-2A98-4A5D-9448-5B552679D00A}" presName="connectorText" presStyleLbl="sibTrans2D1" presStyleIdx="10" presStyleCnt="12"/>
      <dgm:spPr/>
    </dgm:pt>
    <dgm:pt modelId="{D6E5D510-5AE4-40FC-8E5D-C5B3280B3071}" type="pres">
      <dgm:prSet presAssocID="{44BCA2F7-4DFE-40B0-BF36-395295EDAF37}" presName="node" presStyleLbl="node1" presStyleIdx="11" presStyleCnt="13">
        <dgm:presLayoutVars>
          <dgm:bulletEnabled val="1"/>
        </dgm:presLayoutVars>
      </dgm:prSet>
      <dgm:spPr/>
    </dgm:pt>
    <dgm:pt modelId="{F0D65399-0147-47D5-9455-0DE6DE7AB3D4}" type="pres">
      <dgm:prSet presAssocID="{1A483732-DEE2-49AC-8401-AC4547915754}" presName="sibTrans" presStyleLbl="sibTrans2D1" presStyleIdx="11" presStyleCnt="12"/>
      <dgm:spPr/>
    </dgm:pt>
    <dgm:pt modelId="{B0EB730C-F0B6-4ACB-9FE9-C5BD5E852DC9}" type="pres">
      <dgm:prSet presAssocID="{1A483732-DEE2-49AC-8401-AC4547915754}" presName="connectorText" presStyleLbl="sibTrans2D1" presStyleIdx="11" presStyleCnt="12"/>
      <dgm:spPr/>
    </dgm:pt>
    <dgm:pt modelId="{85255D68-460B-43F3-98F6-D967AFF13228}" type="pres">
      <dgm:prSet presAssocID="{553D5A18-350A-4DE4-801A-BA63244DF558}" presName="node" presStyleLbl="node1" presStyleIdx="12" presStyleCnt="13">
        <dgm:presLayoutVars>
          <dgm:bulletEnabled val="1"/>
        </dgm:presLayoutVars>
      </dgm:prSet>
      <dgm:spPr/>
    </dgm:pt>
  </dgm:ptLst>
  <dgm:cxnLst>
    <dgm:cxn modelId="{D9872D00-928D-4744-B845-202ACC6D8EB2}" type="presOf" srcId="{E36F3098-A487-4F3C-9358-D52BB6453AE9}" destId="{3784431B-A1D2-4F51-BAB6-613E7DE2F203}" srcOrd="0" destOrd="0" presId="urn:microsoft.com/office/officeart/2005/8/layout/process5"/>
    <dgm:cxn modelId="{6D7D6F01-4333-4756-8396-7FC49A3670C0}" srcId="{67AF0873-654F-4510-AB3A-6BCD089DABC3}" destId="{44BCA2F7-4DFE-40B0-BF36-395295EDAF37}" srcOrd="11" destOrd="0" parTransId="{234B0C10-ADBC-4532-939F-A8C683BC36CE}" sibTransId="{1A483732-DEE2-49AC-8401-AC4547915754}"/>
    <dgm:cxn modelId="{8E3C1204-1061-427E-8D33-329C62E504E2}" srcId="{67AF0873-654F-4510-AB3A-6BCD089DABC3}" destId="{93C1800D-0E62-4BB2-ABD2-DA7F876B2756}" srcOrd="4" destOrd="0" parTransId="{10C331F2-582C-4E9E-91FA-998D52E6398E}" sibTransId="{11003004-D867-45DB-B8EC-C4A44486952A}"/>
    <dgm:cxn modelId="{F694600F-0DF1-4776-BB10-E5F83D5B3DB8}" srcId="{67AF0873-654F-4510-AB3A-6BCD089DABC3}" destId="{A188EE17-6569-4849-8482-64537CB36C5B}" srcOrd="8" destOrd="0" parTransId="{6BEB942D-751A-4204-8E41-53C894ADD3AE}" sibTransId="{D5C32E86-9FB6-4CDB-8C95-54A227901A9D}"/>
    <dgm:cxn modelId="{EF42031B-9F6F-4F44-997C-A0B577B473B3}" type="presOf" srcId="{F97EB4DB-AAAB-405E-AFD2-5BD91C301B50}" destId="{BCC3FB23-5361-48DA-8D73-5F5B8257D0BC}" srcOrd="0" destOrd="0" presId="urn:microsoft.com/office/officeart/2005/8/layout/process5"/>
    <dgm:cxn modelId="{1C418D1D-7969-46FF-B7D6-44580B811542}" type="presOf" srcId="{CD1244F4-66CB-4D8B-9E9B-AE3EB96C182A}" destId="{31C59386-C4B7-40D6-B155-A0CC8046E80A}" srcOrd="0" destOrd="0" presId="urn:microsoft.com/office/officeart/2005/8/layout/process5"/>
    <dgm:cxn modelId="{A9F7AE2A-FF70-44B4-8250-71DBD90D4779}" type="presOf" srcId="{D65FE824-26ED-4D52-961F-7E457BF69F6F}" destId="{1C1576F0-F965-43CA-B32A-271CCC8BBE86}" srcOrd="0" destOrd="0" presId="urn:microsoft.com/office/officeart/2005/8/layout/process5"/>
    <dgm:cxn modelId="{F45D552B-25A6-478A-BD21-EF142D3EA4D1}" type="presOf" srcId="{1A483732-DEE2-49AC-8401-AC4547915754}" destId="{F0D65399-0147-47D5-9455-0DE6DE7AB3D4}" srcOrd="0" destOrd="0" presId="urn:microsoft.com/office/officeart/2005/8/layout/process5"/>
    <dgm:cxn modelId="{833FCD2F-4B69-4CF1-8D3E-9528D88FFEE6}" type="presOf" srcId="{3BD8E6D3-DBF4-4F74-B762-27FF01389575}" destId="{FECEF29F-53FE-447A-BFEB-12F0A2DF6317}" srcOrd="1" destOrd="0" presId="urn:microsoft.com/office/officeart/2005/8/layout/process5"/>
    <dgm:cxn modelId="{C0EB8C32-EB88-4944-A99B-676040BBA17F}" type="presOf" srcId="{D5C32E86-9FB6-4CDB-8C95-54A227901A9D}" destId="{C59C0CB7-149E-4435-B690-0528D8EFBEA5}" srcOrd="0" destOrd="0" presId="urn:microsoft.com/office/officeart/2005/8/layout/process5"/>
    <dgm:cxn modelId="{D0350935-0E66-4C95-B462-CB6E5AFA8B50}" srcId="{67AF0873-654F-4510-AB3A-6BCD089DABC3}" destId="{13527068-A1CA-458F-B588-2D30F318AE6A}" srcOrd="9" destOrd="0" parTransId="{43A47178-86D8-4A4C-8EC6-4F84B75EA0E7}" sibTransId="{3BD8E6D3-DBF4-4F74-B762-27FF01389575}"/>
    <dgm:cxn modelId="{66202536-C569-47B3-BEC7-9798660A9A01}" type="presOf" srcId="{93C1800D-0E62-4BB2-ABD2-DA7F876B2756}" destId="{A3D97B7B-5134-4984-99E5-28CB9B4EF218}" srcOrd="0" destOrd="0" presId="urn:microsoft.com/office/officeart/2005/8/layout/process5"/>
    <dgm:cxn modelId="{A5659637-34CF-469C-9D45-5877669D8292}" type="presOf" srcId="{B3305FBD-2A98-4A5D-9448-5B552679D00A}" destId="{1406B004-60F2-4DD9-810B-680BEBC77DF8}" srcOrd="1" destOrd="0" presId="urn:microsoft.com/office/officeart/2005/8/layout/process5"/>
    <dgm:cxn modelId="{15B29039-1188-4EDA-A285-E557AEAAA60B}" type="presOf" srcId="{67AF0873-654F-4510-AB3A-6BCD089DABC3}" destId="{4D8136A5-3F30-45AA-B210-E6DC1A363333}" srcOrd="0" destOrd="0" presId="urn:microsoft.com/office/officeart/2005/8/layout/process5"/>
    <dgm:cxn modelId="{9EB6A040-4116-4E60-B3C1-1E9C634C39DB}" type="presOf" srcId="{FC464D58-97C5-47A6-91FD-DB758F23CE4E}" destId="{129179D8-F1A1-40F4-9A2C-40E0816CEE97}" srcOrd="0" destOrd="0" presId="urn:microsoft.com/office/officeart/2005/8/layout/process5"/>
    <dgm:cxn modelId="{2A392F5C-B32A-429A-B88F-F4EF10B3CF8B}" type="presOf" srcId="{FC464D58-97C5-47A6-91FD-DB758F23CE4E}" destId="{5C3E99B5-E9A3-407F-8CEC-72BBE218F501}" srcOrd="1" destOrd="0" presId="urn:microsoft.com/office/officeart/2005/8/layout/process5"/>
    <dgm:cxn modelId="{953DB741-C817-4026-B1C1-B8079C8B0230}" type="presOf" srcId="{13527068-A1CA-458F-B588-2D30F318AE6A}" destId="{943BC048-A90D-4D9E-9821-A85ACAC327CA}" srcOrd="0" destOrd="0" presId="urn:microsoft.com/office/officeart/2005/8/layout/process5"/>
    <dgm:cxn modelId="{5BF1A564-F11F-480A-A29A-C03035D10016}" type="presOf" srcId="{89CBCCFC-6C22-4178-B8E1-81BF7B748E76}" destId="{3302F8D1-6174-43B6-80F6-7ABEF5395251}" srcOrd="0" destOrd="0" presId="urn:microsoft.com/office/officeart/2005/8/layout/process5"/>
    <dgm:cxn modelId="{76EBAF44-68F6-4263-BE6F-261A9691EB40}" type="presOf" srcId="{3FC39E48-8331-43A2-AF6A-256B73F47CB1}" destId="{712EC755-27ED-4385-B25F-5FC38AA796EA}" srcOrd="0" destOrd="0" presId="urn:microsoft.com/office/officeart/2005/8/layout/process5"/>
    <dgm:cxn modelId="{2B507245-4ADC-40AA-9EDE-74652BBEC500}" type="presOf" srcId="{99ADBFAE-BFD6-4EC6-862A-0AD1BE585FA5}" destId="{F3AB15D3-FABF-4B10-B398-3E5BFB0B7C14}" srcOrd="0" destOrd="0" presId="urn:microsoft.com/office/officeart/2005/8/layout/process5"/>
    <dgm:cxn modelId="{B1400948-C942-4F42-BD14-199378937220}" srcId="{67AF0873-654F-4510-AB3A-6BCD089DABC3}" destId="{89CBCCFC-6C22-4178-B8E1-81BF7B748E76}" srcOrd="1" destOrd="0" parTransId="{A0D5F88D-1DB9-4233-A2EF-82F593464D50}" sibTransId="{D65FE824-26ED-4D52-961F-7E457BF69F6F}"/>
    <dgm:cxn modelId="{DE37A468-AE50-49A7-BCB3-297A95A94BD3}" srcId="{67AF0873-654F-4510-AB3A-6BCD089DABC3}" destId="{E36F3098-A487-4F3C-9358-D52BB6453AE9}" srcOrd="6" destOrd="0" parTransId="{9696FCA6-6BFA-4740-AE3B-083B50C6A2D7}" sibTransId="{CA084B63-C96F-4D82-BB5B-8CE34F4C5753}"/>
    <dgm:cxn modelId="{6BCFFE6A-F1B6-43DD-B575-CB4E0D7A4437}" type="presOf" srcId="{3FC39E48-8331-43A2-AF6A-256B73F47CB1}" destId="{A7C7801C-7FF8-4422-8F86-5DE2EFFBEAC9}" srcOrd="1" destOrd="0" presId="urn:microsoft.com/office/officeart/2005/8/layout/process5"/>
    <dgm:cxn modelId="{6DAB374B-6E26-450D-BEBE-97495456D143}" srcId="{67AF0873-654F-4510-AB3A-6BCD089DABC3}" destId="{CD1244F4-66CB-4D8B-9E9B-AE3EB96C182A}" srcOrd="2" destOrd="0" parTransId="{90834F6D-9528-41EE-8FC9-5D8C5006376C}" sibTransId="{FC464D58-97C5-47A6-91FD-DB758F23CE4E}"/>
    <dgm:cxn modelId="{130CFA6B-FE07-4E44-B279-41679469453A}" type="presOf" srcId="{E05485B6-08D1-4577-8682-F888C3815FF3}" destId="{85E440E1-6AC4-4872-8CDB-AACE7C1CF22B}" srcOrd="0" destOrd="0" presId="urn:microsoft.com/office/officeart/2005/8/layout/process5"/>
    <dgm:cxn modelId="{C4438E6F-ED4C-4FF5-A4B8-586DF7C57C5F}" type="presOf" srcId="{3BD8E6D3-DBF4-4F74-B762-27FF01389575}" destId="{62E498A3-2517-45DC-9A8A-B34427D9BB6A}" srcOrd="0" destOrd="0" presId="urn:microsoft.com/office/officeart/2005/8/layout/process5"/>
    <dgm:cxn modelId="{672CC977-7379-455C-98F3-D92642BFE619}" type="presOf" srcId="{B3305FBD-2A98-4A5D-9448-5B552679D00A}" destId="{65357D0F-DA24-4B22-B866-9C5F45D83539}" srcOrd="0" destOrd="0" presId="urn:microsoft.com/office/officeart/2005/8/layout/process5"/>
    <dgm:cxn modelId="{63023279-8CCA-4D00-8BBA-3BFF049DBC95}" type="presOf" srcId="{44BCA2F7-4DFE-40B0-BF36-395295EDAF37}" destId="{D6E5D510-5AE4-40FC-8E5D-C5B3280B3071}" srcOrd="0" destOrd="0" presId="urn:microsoft.com/office/officeart/2005/8/layout/process5"/>
    <dgm:cxn modelId="{D8A83B5A-B7FD-4E95-96C6-CDEAEE73EBDA}" srcId="{67AF0873-654F-4510-AB3A-6BCD089DABC3}" destId="{553D5A18-350A-4DE4-801A-BA63244DF558}" srcOrd="12" destOrd="0" parTransId="{F04A867C-C9DF-4817-B7C1-5ADA3A0294E9}" sibTransId="{A03E3999-B985-4024-BAA2-419DE862652E}"/>
    <dgm:cxn modelId="{3411C17E-0E7F-4764-A4FA-9FF89EEE4870}" type="presOf" srcId="{828DDA33-30BE-4304-96ED-9AEB1F2D1440}" destId="{2B32E410-3365-494B-A367-1744D2F2D527}" srcOrd="0" destOrd="0" presId="urn:microsoft.com/office/officeart/2005/8/layout/process5"/>
    <dgm:cxn modelId="{90AB287F-B0CE-4DD9-9F91-4A6483E4D82D}" type="presOf" srcId="{C63C4564-8E39-4EA2-BEBF-D5DE288C243E}" destId="{34B32203-6E3D-4FC3-8C20-BA232E1118F8}" srcOrd="0" destOrd="0" presId="urn:microsoft.com/office/officeart/2005/8/layout/process5"/>
    <dgm:cxn modelId="{637455A0-BCEF-4CC8-AA16-4A2F403EF6B6}" srcId="{67AF0873-654F-4510-AB3A-6BCD089DABC3}" destId="{5404560D-1EFB-4624-945D-4DD8989990AA}" srcOrd="10" destOrd="0" parTransId="{A6F9399C-F054-42CD-AF06-B73D12F69D7A}" sibTransId="{B3305FBD-2A98-4A5D-9448-5B552679D00A}"/>
    <dgm:cxn modelId="{9F7E1FA3-42B3-4CD8-A752-118DC8DF3C0D}" type="presOf" srcId="{F97EB4DB-AAAB-405E-AFD2-5BD91C301B50}" destId="{7C720342-5D4D-4662-BB66-7DCB0B22EF19}" srcOrd="1" destOrd="0" presId="urn:microsoft.com/office/officeart/2005/8/layout/process5"/>
    <dgm:cxn modelId="{787A24A9-7E2D-48C8-8800-10431B84D4BB}" type="presOf" srcId="{47EE3148-0776-456F-9F1A-F35C6A434C88}" destId="{DCD2E134-18E4-4A63-985E-935770130ECA}" srcOrd="0" destOrd="0" presId="urn:microsoft.com/office/officeart/2005/8/layout/process5"/>
    <dgm:cxn modelId="{804E70A9-EA36-491E-B04B-ACF29D2FBDE3}" srcId="{67AF0873-654F-4510-AB3A-6BCD089DABC3}" destId="{828DDA33-30BE-4304-96ED-9AEB1F2D1440}" srcOrd="0" destOrd="0" parTransId="{9889BE34-551F-47E7-AC0E-AA0FEE0F020E}" sibTransId="{E05485B6-08D1-4577-8682-F888C3815FF3}"/>
    <dgm:cxn modelId="{88F2F0A9-B4CD-4135-A6CC-4B26F766732F}" type="presOf" srcId="{1A483732-DEE2-49AC-8401-AC4547915754}" destId="{B0EB730C-F0B6-4ACB-9FE9-C5BD5E852DC9}" srcOrd="1" destOrd="0" presId="urn:microsoft.com/office/officeart/2005/8/layout/process5"/>
    <dgm:cxn modelId="{FBAEB5AD-0543-463B-94A5-830C561884A7}" type="presOf" srcId="{553D5A18-350A-4DE4-801A-BA63244DF558}" destId="{85255D68-460B-43F3-98F6-D967AFF13228}" srcOrd="0" destOrd="0" presId="urn:microsoft.com/office/officeart/2005/8/layout/process5"/>
    <dgm:cxn modelId="{620007B0-460C-4362-9CA1-E5E222E8E072}" type="presOf" srcId="{CA084B63-C96F-4D82-BB5B-8CE34F4C5753}" destId="{62B8C3F5-D24E-4911-9A28-DC73917E4F97}" srcOrd="0" destOrd="0" presId="urn:microsoft.com/office/officeart/2005/8/layout/process5"/>
    <dgm:cxn modelId="{E4E932B4-E94E-427F-ABA8-E2FA1FBF42FA}" type="presOf" srcId="{D65FE824-26ED-4D52-961F-7E457BF69F6F}" destId="{85F8F4F9-A189-4398-A8B3-F2745C1D6428}" srcOrd="1" destOrd="0" presId="urn:microsoft.com/office/officeart/2005/8/layout/process5"/>
    <dgm:cxn modelId="{9859E7B5-966F-4169-9900-671C436A41BF}" srcId="{67AF0873-654F-4510-AB3A-6BCD089DABC3}" destId="{083A116A-8B71-4FB5-878D-7FD48B447B40}" srcOrd="3" destOrd="0" parTransId="{504F7A39-417D-40CD-939B-9AAD401AF2F2}" sibTransId="{3FC39E48-8331-43A2-AF6A-256B73F47CB1}"/>
    <dgm:cxn modelId="{67DE88B6-229A-405E-99F1-A4C21817B527}" type="presOf" srcId="{D5C32E86-9FB6-4CDB-8C95-54A227901A9D}" destId="{32E00774-6B19-4CAA-A09B-1A2C4D70DCFA}" srcOrd="1" destOrd="0" presId="urn:microsoft.com/office/officeart/2005/8/layout/process5"/>
    <dgm:cxn modelId="{97DA57BD-05CC-44FA-B4F6-1C11B3553CD5}" type="presOf" srcId="{C63C4564-8E39-4EA2-BEBF-D5DE288C243E}" destId="{D3222887-04A1-4CCD-8880-440D470B6952}" srcOrd="1" destOrd="0" presId="urn:microsoft.com/office/officeart/2005/8/layout/process5"/>
    <dgm:cxn modelId="{D2DD7CC2-A708-4184-94E1-79658C236746}" type="presOf" srcId="{11003004-D867-45DB-B8EC-C4A44486952A}" destId="{93ED5C7C-D354-4B63-B1A5-98F30573BA3F}" srcOrd="0" destOrd="0" presId="urn:microsoft.com/office/officeart/2005/8/layout/process5"/>
    <dgm:cxn modelId="{8F099AC2-1156-4B9D-B0A8-577802B95F06}" type="presOf" srcId="{E05485B6-08D1-4577-8682-F888C3815FF3}" destId="{E899C35B-C03D-43B4-97ED-B99E3109D9FD}" srcOrd="1" destOrd="0" presId="urn:microsoft.com/office/officeart/2005/8/layout/process5"/>
    <dgm:cxn modelId="{227C94C9-793C-48B1-ADF7-C9834CD0A731}" type="presOf" srcId="{A188EE17-6569-4849-8482-64537CB36C5B}" destId="{8E878BC4-8912-4178-9F2E-63BF1ECFFBEA}" srcOrd="0" destOrd="0" presId="urn:microsoft.com/office/officeart/2005/8/layout/process5"/>
    <dgm:cxn modelId="{897E43D7-93FE-4C90-9682-63EC0B81F7F6}" srcId="{67AF0873-654F-4510-AB3A-6BCD089DABC3}" destId="{47EE3148-0776-456F-9F1A-F35C6A434C88}" srcOrd="5" destOrd="0" parTransId="{FD253779-7136-45DA-BE4D-46BB0CC7C935}" sibTransId="{C63C4564-8E39-4EA2-BEBF-D5DE288C243E}"/>
    <dgm:cxn modelId="{48DA19E1-2710-42E7-BD7E-2349AD1D7409}" type="presOf" srcId="{11003004-D867-45DB-B8EC-C4A44486952A}" destId="{3F1C6988-5F4F-4DB3-B9AC-112C7018D945}" srcOrd="1" destOrd="0" presId="urn:microsoft.com/office/officeart/2005/8/layout/process5"/>
    <dgm:cxn modelId="{4FC943E2-C3F8-40A5-863A-9C9DD599D656}" srcId="{67AF0873-654F-4510-AB3A-6BCD089DABC3}" destId="{99ADBFAE-BFD6-4EC6-862A-0AD1BE585FA5}" srcOrd="7" destOrd="0" parTransId="{BCB1D8C4-BBD6-4376-BF98-1ECFDDAB2AC9}" sibTransId="{F97EB4DB-AAAB-405E-AFD2-5BD91C301B50}"/>
    <dgm:cxn modelId="{27FB9EE2-5997-4EEA-B093-506D89761A68}" type="presOf" srcId="{5404560D-1EFB-4624-945D-4DD8989990AA}" destId="{C2AC126E-D58A-4775-9E89-4DDBC214AEC1}" srcOrd="0" destOrd="0" presId="urn:microsoft.com/office/officeart/2005/8/layout/process5"/>
    <dgm:cxn modelId="{864E6AEA-526E-4E21-B1DF-8CBB5C2D26C6}" type="presOf" srcId="{CA084B63-C96F-4D82-BB5B-8CE34F4C5753}" destId="{DD705FBE-A0A7-4B15-807E-53BFF40C8CD6}" srcOrd="1" destOrd="0" presId="urn:microsoft.com/office/officeart/2005/8/layout/process5"/>
    <dgm:cxn modelId="{9A7B47FB-BD94-4D98-BAEB-545FBEDE0CDA}" type="presOf" srcId="{083A116A-8B71-4FB5-878D-7FD48B447B40}" destId="{690FBC40-FDDA-4C5F-B2B6-BA82ED89E8AB}" srcOrd="0" destOrd="0" presId="urn:microsoft.com/office/officeart/2005/8/layout/process5"/>
    <dgm:cxn modelId="{A2317D6C-97B3-4316-B2E1-527798BC108A}" type="presParOf" srcId="{4D8136A5-3F30-45AA-B210-E6DC1A363333}" destId="{2B32E410-3365-494B-A367-1744D2F2D527}" srcOrd="0" destOrd="0" presId="urn:microsoft.com/office/officeart/2005/8/layout/process5"/>
    <dgm:cxn modelId="{05BA71E2-B529-4E29-8E9E-263191769187}" type="presParOf" srcId="{4D8136A5-3F30-45AA-B210-E6DC1A363333}" destId="{85E440E1-6AC4-4872-8CDB-AACE7C1CF22B}" srcOrd="1" destOrd="0" presId="urn:microsoft.com/office/officeart/2005/8/layout/process5"/>
    <dgm:cxn modelId="{62AF1205-EC02-4122-BC02-F1B2F0EC4408}" type="presParOf" srcId="{85E440E1-6AC4-4872-8CDB-AACE7C1CF22B}" destId="{E899C35B-C03D-43B4-97ED-B99E3109D9FD}" srcOrd="0" destOrd="0" presId="urn:microsoft.com/office/officeart/2005/8/layout/process5"/>
    <dgm:cxn modelId="{E817A1B9-A45A-40F7-9E79-AA30F71A4315}" type="presParOf" srcId="{4D8136A5-3F30-45AA-B210-E6DC1A363333}" destId="{3302F8D1-6174-43B6-80F6-7ABEF5395251}" srcOrd="2" destOrd="0" presId="urn:microsoft.com/office/officeart/2005/8/layout/process5"/>
    <dgm:cxn modelId="{F5ACB64A-B9EE-4596-950E-796267825508}" type="presParOf" srcId="{4D8136A5-3F30-45AA-B210-E6DC1A363333}" destId="{1C1576F0-F965-43CA-B32A-271CCC8BBE86}" srcOrd="3" destOrd="0" presId="urn:microsoft.com/office/officeart/2005/8/layout/process5"/>
    <dgm:cxn modelId="{8CD5C7B3-DEE5-49F5-B3CD-4DA6A4FB955C}" type="presParOf" srcId="{1C1576F0-F965-43CA-B32A-271CCC8BBE86}" destId="{85F8F4F9-A189-4398-A8B3-F2745C1D6428}" srcOrd="0" destOrd="0" presId="urn:microsoft.com/office/officeart/2005/8/layout/process5"/>
    <dgm:cxn modelId="{6A0661AB-5979-4DA3-9D33-3394E66E5E97}" type="presParOf" srcId="{4D8136A5-3F30-45AA-B210-E6DC1A363333}" destId="{31C59386-C4B7-40D6-B155-A0CC8046E80A}" srcOrd="4" destOrd="0" presId="urn:microsoft.com/office/officeart/2005/8/layout/process5"/>
    <dgm:cxn modelId="{A4D07AA0-F451-4303-A8CC-D49FC239B67D}" type="presParOf" srcId="{4D8136A5-3F30-45AA-B210-E6DC1A363333}" destId="{129179D8-F1A1-40F4-9A2C-40E0816CEE97}" srcOrd="5" destOrd="0" presId="urn:microsoft.com/office/officeart/2005/8/layout/process5"/>
    <dgm:cxn modelId="{19EABEFB-2A7B-4259-9199-1F8DA4773438}" type="presParOf" srcId="{129179D8-F1A1-40F4-9A2C-40E0816CEE97}" destId="{5C3E99B5-E9A3-407F-8CEC-72BBE218F501}" srcOrd="0" destOrd="0" presId="urn:microsoft.com/office/officeart/2005/8/layout/process5"/>
    <dgm:cxn modelId="{F4D182FC-F89E-4482-996D-5E2676DA3C96}" type="presParOf" srcId="{4D8136A5-3F30-45AA-B210-E6DC1A363333}" destId="{690FBC40-FDDA-4C5F-B2B6-BA82ED89E8AB}" srcOrd="6" destOrd="0" presId="urn:microsoft.com/office/officeart/2005/8/layout/process5"/>
    <dgm:cxn modelId="{42EF34D5-C912-484F-8941-5F7E1EC96A2D}" type="presParOf" srcId="{4D8136A5-3F30-45AA-B210-E6DC1A363333}" destId="{712EC755-27ED-4385-B25F-5FC38AA796EA}" srcOrd="7" destOrd="0" presId="urn:microsoft.com/office/officeart/2005/8/layout/process5"/>
    <dgm:cxn modelId="{74A787FC-671A-44CB-B9D0-CD20D82D8CC5}" type="presParOf" srcId="{712EC755-27ED-4385-B25F-5FC38AA796EA}" destId="{A7C7801C-7FF8-4422-8F86-5DE2EFFBEAC9}" srcOrd="0" destOrd="0" presId="urn:microsoft.com/office/officeart/2005/8/layout/process5"/>
    <dgm:cxn modelId="{7AF8E011-2F18-4A35-AE83-46E3C4677383}" type="presParOf" srcId="{4D8136A5-3F30-45AA-B210-E6DC1A363333}" destId="{A3D97B7B-5134-4984-99E5-28CB9B4EF218}" srcOrd="8" destOrd="0" presId="urn:microsoft.com/office/officeart/2005/8/layout/process5"/>
    <dgm:cxn modelId="{48412CB2-7927-4D61-AF38-3EDD949B4955}" type="presParOf" srcId="{4D8136A5-3F30-45AA-B210-E6DC1A363333}" destId="{93ED5C7C-D354-4B63-B1A5-98F30573BA3F}" srcOrd="9" destOrd="0" presId="urn:microsoft.com/office/officeart/2005/8/layout/process5"/>
    <dgm:cxn modelId="{EA867FD8-F75B-486A-82FC-E5EDD494282E}" type="presParOf" srcId="{93ED5C7C-D354-4B63-B1A5-98F30573BA3F}" destId="{3F1C6988-5F4F-4DB3-B9AC-112C7018D945}" srcOrd="0" destOrd="0" presId="urn:microsoft.com/office/officeart/2005/8/layout/process5"/>
    <dgm:cxn modelId="{001FFD8C-6138-41ED-B9E2-DDC511F1A7DF}" type="presParOf" srcId="{4D8136A5-3F30-45AA-B210-E6DC1A363333}" destId="{DCD2E134-18E4-4A63-985E-935770130ECA}" srcOrd="10" destOrd="0" presId="urn:microsoft.com/office/officeart/2005/8/layout/process5"/>
    <dgm:cxn modelId="{2F5429A9-0B47-4B9B-B4B3-F4EA657E8222}" type="presParOf" srcId="{4D8136A5-3F30-45AA-B210-E6DC1A363333}" destId="{34B32203-6E3D-4FC3-8C20-BA232E1118F8}" srcOrd="11" destOrd="0" presId="urn:microsoft.com/office/officeart/2005/8/layout/process5"/>
    <dgm:cxn modelId="{09AB28CF-D1AD-4471-B040-54B60AAE9E8C}" type="presParOf" srcId="{34B32203-6E3D-4FC3-8C20-BA232E1118F8}" destId="{D3222887-04A1-4CCD-8880-440D470B6952}" srcOrd="0" destOrd="0" presId="urn:microsoft.com/office/officeart/2005/8/layout/process5"/>
    <dgm:cxn modelId="{290736A8-872B-4877-AA54-25AE58C91F28}" type="presParOf" srcId="{4D8136A5-3F30-45AA-B210-E6DC1A363333}" destId="{3784431B-A1D2-4F51-BAB6-613E7DE2F203}" srcOrd="12" destOrd="0" presId="urn:microsoft.com/office/officeart/2005/8/layout/process5"/>
    <dgm:cxn modelId="{88C64687-DFA7-434E-A395-C8B1481654B5}" type="presParOf" srcId="{4D8136A5-3F30-45AA-B210-E6DC1A363333}" destId="{62B8C3F5-D24E-4911-9A28-DC73917E4F97}" srcOrd="13" destOrd="0" presId="urn:microsoft.com/office/officeart/2005/8/layout/process5"/>
    <dgm:cxn modelId="{18F834CB-BE91-4CEE-9879-74E9CDA67540}" type="presParOf" srcId="{62B8C3F5-D24E-4911-9A28-DC73917E4F97}" destId="{DD705FBE-A0A7-4B15-807E-53BFF40C8CD6}" srcOrd="0" destOrd="0" presId="urn:microsoft.com/office/officeart/2005/8/layout/process5"/>
    <dgm:cxn modelId="{7E79E840-6FDC-4EEE-86D6-5BF18C927778}" type="presParOf" srcId="{4D8136A5-3F30-45AA-B210-E6DC1A363333}" destId="{F3AB15D3-FABF-4B10-B398-3E5BFB0B7C14}" srcOrd="14" destOrd="0" presId="urn:microsoft.com/office/officeart/2005/8/layout/process5"/>
    <dgm:cxn modelId="{D53967D8-46ED-4201-8237-C8554D2136C2}" type="presParOf" srcId="{4D8136A5-3F30-45AA-B210-E6DC1A363333}" destId="{BCC3FB23-5361-48DA-8D73-5F5B8257D0BC}" srcOrd="15" destOrd="0" presId="urn:microsoft.com/office/officeart/2005/8/layout/process5"/>
    <dgm:cxn modelId="{70E5487C-070C-4E62-B5A5-041F5D98EB7D}" type="presParOf" srcId="{BCC3FB23-5361-48DA-8D73-5F5B8257D0BC}" destId="{7C720342-5D4D-4662-BB66-7DCB0B22EF19}" srcOrd="0" destOrd="0" presId="urn:microsoft.com/office/officeart/2005/8/layout/process5"/>
    <dgm:cxn modelId="{979B29CF-6ACD-43F9-AA95-CACE9AB4C745}" type="presParOf" srcId="{4D8136A5-3F30-45AA-B210-E6DC1A363333}" destId="{8E878BC4-8912-4178-9F2E-63BF1ECFFBEA}" srcOrd="16" destOrd="0" presId="urn:microsoft.com/office/officeart/2005/8/layout/process5"/>
    <dgm:cxn modelId="{C7B2C97F-AA2A-44BF-AEEB-89BCBBB00826}" type="presParOf" srcId="{4D8136A5-3F30-45AA-B210-E6DC1A363333}" destId="{C59C0CB7-149E-4435-B690-0528D8EFBEA5}" srcOrd="17" destOrd="0" presId="urn:microsoft.com/office/officeart/2005/8/layout/process5"/>
    <dgm:cxn modelId="{4E937D93-EEAE-45BC-85AD-BC802502B11E}" type="presParOf" srcId="{C59C0CB7-149E-4435-B690-0528D8EFBEA5}" destId="{32E00774-6B19-4CAA-A09B-1A2C4D70DCFA}" srcOrd="0" destOrd="0" presId="urn:microsoft.com/office/officeart/2005/8/layout/process5"/>
    <dgm:cxn modelId="{D58DDAC1-CEAE-4D51-ACAC-69206B5FD6BC}" type="presParOf" srcId="{4D8136A5-3F30-45AA-B210-E6DC1A363333}" destId="{943BC048-A90D-4D9E-9821-A85ACAC327CA}" srcOrd="18" destOrd="0" presId="urn:microsoft.com/office/officeart/2005/8/layout/process5"/>
    <dgm:cxn modelId="{89562D92-714E-4D25-8AD6-1CC2380C1522}" type="presParOf" srcId="{4D8136A5-3F30-45AA-B210-E6DC1A363333}" destId="{62E498A3-2517-45DC-9A8A-B34427D9BB6A}" srcOrd="19" destOrd="0" presId="urn:microsoft.com/office/officeart/2005/8/layout/process5"/>
    <dgm:cxn modelId="{6CBC7B8C-7CBF-49D5-9BD1-3FF40E62B333}" type="presParOf" srcId="{62E498A3-2517-45DC-9A8A-B34427D9BB6A}" destId="{FECEF29F-53FE-447A-BFEB-12F0A2DF6317}" srcOrd="0" destOrd="0" presId="urn:microsoft.com/office/officeart/2005/8/layout/process5"/>
    <dgm:cxn modelId="{5A6CC0CD-94EE-4BF7-B369-3AA0ED361163}" type="presParOf" srcId="{4D8136A5-3F30-45AA-B210-E6DC1A363333}" destId="{C2AC126E-D58A-4775-9E89-4DDBC214AEC1}" srcOrd="20" destOrd="0" presId="urn:microsoft.com/office/officeart/2005/8/layout/process5"/>
    <dgm:cxn modelId="{78C4D3FE-4C1B-4514-96A2-D25810C9A0C5}" type="presParOf" srcId="{4D8136A5-3F30-45AA-B210-E6DC1A363333}" destId="{65357D0F-DA24-4B22-B866-9C5F45D83539}" srcOrd="21" destOrd="0" presId="urn:microsoft.com/office/officeart/2005/8/layout/process5"/>
    <dgm:cxn modelId="{F171467F-D9C7-477C-BF92-7AA567C4DC07}" type="presParOf" srcId="{65357D0F-DA24-4B22-B866-9C5F45D83539}" destId="{1406B004-60F2-4DD9-810B-680BEBC77DF8}" srcOrd="0" destOrd="0" presId="urn:microsoft.com/office/officeart/2005/8/layout/process5"/>
    <dgm:cxn modelId="{59EADA2F-5070-4E09-ABBE-5EDE616C11DE}" type="presParOf" srcId="{4D8136A5-3F30-45AA-B210-E6DC1A363333}" destId="{D6E5D510-5AE4-40FC-8E5D-C5B3280B3071}" srcOrd="22" destOrd="0" presId="urn:microsoft.com/office/officeart/2005/8/layout/process5"/>
    <dgm:cxn modelId="{A552CF76-5656-44F1-AB3C-F1A023907A59}" type="presParOf" srcId="{4D8136A5-3F30-45AA-B210-E6DC1A363333}" destId="{F0D65399-0147-47D5-9455-0DE6DE7AB3D4}" srcOrd="23" destOrd="0" presId="urn:microsoft.com/office/officeart/2005/8/layout/process5"/>
    <dgm:cxn modelId="{327668ED-8F76-4293-B651-752088A5F09E}" type="presParOf" srcId="{F0D65399-0147-47D5-9455-0DE6DE7AB3D4}" destId="{B0EB730C-F0B6-4ACB-9FE9-C5BD5E852DC9}" srcOrd="0" destOrd="0" presId="urn:microsoft.com/office/officeart/2005/8/layout/process5"/>
    <dgm:cxn modelId="{BBA9EB52-6379-4649-B59F-997FC0685E4F}" type="presParOf" srcId="{4D8136A5-3F30-45AA-B210-E6DC1A363333}" destId="{85255D68-460B-43F3-98F6-D967AFF13228}" srcOrd="24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32E410-3365-494B-A367-1744D2F2D527}">
      <dsp:nvSpPr>
        <dsp:cNvPr id="0" name=""/>
        <dsp:cNvSpPr/>
      </dsp:nvSpPr>
      <dsp:spPr>
        <a:xfrm>
          <a:off x="4094" y="445757"/>
          <a:ext cx="1269301" cy="761580"/>
        </a:xfrm>
        <a:prstGeom prst="roundRect">
          <a:avLst>
            <a:gd name="adj" fmla="val 10000"/>
          </a:avLst>
        </a:pr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>
              <a:solidFill>
                <a:schemeClr val="tx1"/>
              </a:solidFill>
            </a:rPr>
            <a:t>Příprava a zahájení procesu</a:t>
          </a:r>
        </a:p>
      </dsp:txBody>
      <dsp:txXfrm>
        <a:off x="26400" y="468063"/>
        <a:ext cx="1224689" cy="716968"/>
      </dsp:txXfrm>
    </dsp:sp>
    <dsp:sp modelId="{85E440E1-6AC4-4872-8CDB-AACE7C1CF22B}">
      <dsp:nvSpPr>
        <dsp:cNvPr id="0" name=""/>
        <dsp:cNvSpPr/>
      </dsp:nvSpPr>
      <dsp:spPr>
        <a:xfrm>
          <a:off x="1385094" y="669154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>
        <a:off x="1385094" y="732111"/>
        <a:ext cx="188364" cy="188872"/>
      </dsp:txXfrm>
    </dsp:sp>
    <dsp:sp modelId="{A6C325BF-53F1-45E4-A318-6910DE4A702E}">
      <dsp:nvSpPr>
        <dsp:cNvPr id="0" name=""/>
        <dsp:cNvSpPr/>
      </dsp:nvSpPr>
      <dsp:spPr>
        <a:xfrm>
          <a:off x="1781116" y="445757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 err="1"/>
            <a:t>Teaser</a:t>
          </a:r>
          <a:endParaRPr lang="cs-CZ" sz="1000" b="1" kern="1200" dirty="0"/>
        </a:p>
      </dsp:txBody>
      <dsp:txXfrm>
        <a:off x="1803422" y="468063"/>
        <a:ext cx="1224689" cy="716968"/>
      </dsp:txXfrm>
    </dsp:sp>
    <dsp:sp modelId="{7D86E2E3-F7F8-4162-AAD9-9C7A9544AFF4}">
      <dsp:nvSpPr>
        <dsp:cNvPr id="0" name=""/>
        <dsp:cNvSpPr/>
      </dsp:nvSpPr>
      <dsp:spPr>
        <a:xfrm>
          <a:off x="3162116" y="669154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>
        <a:off x="3162116" y="732111"/>
        <a:ext cx="188364" cy="188872"/>
      </dsp:txXfrm>
    </dsp:sp>
    <dsp:sp modelId="{3302F8D1-6174-43B6-80F6-7ABEF5395251}">
      <dsp:nvSpPr>
        <dsp:cNvPr id="0" name=""/>
        <dsp:cNvSpPr/>
      </dsp:nvSpPr>
      <dsp:spPr>
        <a:xfrm>
          <a:off x="3558138" y="445757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Vyhledání a oslovení zájemce/</a:t>
          </a:r>
          <a:r>
            <a:rPr lang="cs-CZ" sz="1000" b="1" kern="1200" dirty="0" err="1"/>
            <a:t>ců</a:t>
          </a:r>
          <a:endParaRPr lang="cs-CZ" sz="1000" b="1" kern="1200" dirty="0"/>
        </a:p>
      </dsp:txBody>
      <dsp:txXfrm>
        <a:off x="3580444" y="468063"/>
        <a:ext cx="1224689" cy="716968"/>
      </dsp:txXfrm>
    </dsp:sp>
    <dsp:sp modelId="{1C1576F0-F965-43CA-B32A-271CCC8BBE86}">
      <dsp:nvSpPr>
        <dsp:cNvPr id="0" name=""/>
        <dsp:cNvSpPr/>
      </dsp:nvSpPr>
      <dsp:spPr>
        <a:xfrm>
          <a:off x="4939138" y="669154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>
        <a:off x="4939138" y="732111"/>
        <a:ext cx="188364" cy="188872"/>
      </dsp:txXfrm>
    </dsp:sp>
    <dsp:sp modelId="{0F8E0B5A-7A04-431A-87B3-CE4D5A0BAED8}">
      <dsp:nvSpPr>
        <dsp:cNvPr id="0" name=""/>
        <dsp:cNvSpPr/>
      </dsp:nvSpPr>
      <dsp:spPr>
        <a:xfrm>
          <a:off x="5335160" y="445757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Vyjádření zájmu</a:t>
          </a:r>
        </a:p>
      </dsp:txBody>
      <dsp:txXfrm>
        <a:off x="5357466" y="468063"/>
        <a:ext cx="1224689" cy="716968"/>
      </dsp:txXfrm>
    </dsp:sp>
    <dsp:sp modelId="{146D39EE-E291-4A55-A806-C0AAF9B2D750}">
      <dsp:nvSpPr>
        <dsp:cNvPr id="0" name=""/>
        <dsp:cNvSpPr/>
      </dsp:nvSpPr>
      <dsp:spPr>
        <a:xfrm>
          <a:off x="6716160" y="669154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>
        <a:off x="6716160" y="732111"/>
        <a:ext cx="188364" cy="188872"/>
      </dsp:txXfrm>
    </dsp:sp>
    <dsp:sp modelId="{31C59386-C4B7-40D6-B155-A0CC8046E80A}">
      <dsp:nvSpPr>
        <dsp:cNvPr id="0" name=""/>
        <dsp:cNvSpPr/>
      </dsp:nvSpPr>
      <dsp:spPr>
        <a:xfrm>
          <a:off x="7112182" y="445757"/>
          <a:ext cx="1269301" cy="761580"/>
        </a:xfrm>
        <a:prstGeom prst="roundRect">
          <a:avLst>
            <a:gd name="adj" fmla="val 10000"/>
          </a:avLst>
        </a:prstGeom>
        <a:solidFill>
          <a:srgbClr val="FF0000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Dohoda o mlčenlivosti (</a:t>
          </a:r>
          <a:r>
            <a:rPr lang="cs-CZ" sz="1000" b="1" kern="1200" dirty="0" err="1"/>
            <a:t>NDA</a:t>
          </a:r>
          <a:r>
            <a:rPr lang="cs-CZ" sz="1000" b="1" kern="1200" dirty="0"/>
            <a:t>)</a:t>
          </a:r>
        </a:p>
      </dsp:txBody>
      <dsp:txXfrm>
        <a:off x="7134488" y="468063"/>
        <a:ext cx="1224689" cy="716968"/>
      </dsp:txXfrm>
    </dsp:sp>
    <dsp:sp modelId="{129179D8-F1A1-40F4-9A2C-40E0816CEE97}">
      <dsp:nvSpPr>
        <dsp:cNvPr id="0" name=""/>
        <dsp:cNvSpPr/>
      </dsp:nvSpPr>
      <dsp:spPr>
        <a:xfrm rot="5400000">
          <a:off x="7612286" y="1296189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 rot="-5400000">
        <a:off x="7652396" y="1319037"/>
        <a:ext cx="188872" cy="188364"/>
      </dsp:txXfrm>
    </dsp:sp>
    <dsp:sp modelId="{690FBC40-FDDA-4C5F-B2B6-BA82ED89E8AB}">
      <dsp:nvSpPr>
        <dsp:cNvPr id="0" name=""/>
        <dsp:cNvSpPr/>
      </dsp:nvSpPr>
      <dsp:spPr>
        <a:xfrm>
          <a:off x="7112182" y="1715058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Informační Memorandum</a:t>
          </a:r>
        </a:p>
      </dsp:txBody>
      <dsp:txXfrm>
        <a:off x="7134488" y="1737364"/>
        <a:ext cx="1224689" cy="716968"/>
      </dsp:txXfrm>
    </dsp:sp>
    <dsp:sp modelId="{712EC755-27ED-4385-B25F-5FC38AA796EA}">
      <dsp:nvSpPr>
        <dsp:cNvPr id="0" name=""/>
        <dsp:cNvSpPr/>
      </dsp:nvSpPr>
      <dsp:spPr>
        <a:xfrm rot="10800000">
          <a:off x="6731391" y="1938455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 rot="10800000">
        <a:off x="6812118" y="2001412"/>
        <a:ext cx="188364" cy="188872"/>
      </dsp:txXfrm>
    </dsp:sp>
    <dsp:sp modelId="{F639EC19-084D-49F5-9E58-EB3628B51725}">
      <dsp:nvSpPr>
        <dsp:cNvPr id="0" name=""/>
        <dsp:cNvSpPr/>
      </dsp:nvSpPr>
      <dsp:spPr>
        <a:xfrm>
          <a:off x="5335160" y="1715058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Management </a:t>
          </a:r>
          <a:r>
            <a:rPr lang="cs-CZ" sz="1000" b="1" kern="1200" dirty="0" err="1"/>
            <a:t>Presentations</a:t>
          </a:r>
          <a:endParaRPr lang="cs-CZ" sz="1000" b="1" kern="1200" dirty="0"/>
        </a:p>
      </dsp:txBody>
      <dsp:txXfrm>
        <a:off x="5357466" y="1737364"/>
        <a:ext cx="1224689" cy="716968"/>
      </dsp:txXfrm>
    </dsp:sp>
    <dsp:sp modelId="{80E0436E-71CC-41C1-8D7D-660629542254}">
      <dsp:nvSpPr>
        <dsp:cNvPr id="0" name=""/>
        <dsp:cNvSpPr/>
      </dsp:nvSpPr>
      <dsp:spPr>
        <a:xfrm rot="10800000">
          <a:off x="4954369" y="1938455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 rot="10800000">
        <a:off x="5035096" y="2001412"/>
        <a:ext cx="188364" cy="188872"/>
      </dsp:txXfrm>
    </dsp:sp>
    <dsp:sp modelId="{A3D97B7B-5134-4984-99E5-28CB9B4EF218}">
      <dsp:nvSpPr>
        <dsp:cNvPr id="0" name=""/>
        <dsp:cNvSpPr/>
      </dsp:nvSpPr>
      <dsp:spPr>
        <a:xfrm>
          <a:off x="3558138" y="1715058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Indikativní (nezávazné) nabídky</a:t>
          </a:r>
        </a:p>
      </dsp:txBody>
      <dsp:txXfrm>
        <a:off x="3580444" y="1737364"/>
        <a:ext cx="1224689" cy="716968"/>
      </dsp:txXfrm>
    </dsp:sp>
    <dsp:sp modelId="{93ED5C7C-D354-4B63-B1A5-98F30573BA3F}">
      <dsp:nvSpPr>
        <dsp:cNvPr id="0" name=""/>
        <dsp:cNvSpPr/>
      </dsp:nvSpPr>
      <dsp:spPr>
        <a:xfrm rot="10800000">
          <a:off x="3177347" y="1938455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 rot="10800000">
        <a:off x="3258074" y="2001412"/>
        <a:ext cx="188364" cy="188872"/>
      </dsp:txXfrm>
    </dsp:sp>
    <dsp:sp modelId="{DCD2E134-18E4-4A63-985E-935770130ECA}">
      <dsp:nvSpPr>
        <dsp:cNvPr id="0" name=""/>
        <dsp:cNvSpPr/>
      </dsp:nvSpPr>
      <dsp:spPr>
        <a:xfrm>
          <a:off x="1781116" y="1715058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 err="1"/>
            <a:t>Due</a:t>
          </a:r>
          <a:r>
            <a:rPr lang="cs-CZ" sz="1000" b="1" kern="1200" dirty="0"/>
            <a:t> Diligence (Data </a:t>
          </a:r>
          <a:r>
            <a:rPr lang="cs-CZ" sz="1000" b="1" kern="1200" dirty="0" err="1"/>
            <a:t>Room</a:t>
          </a:r>
          <a:r>
            <a:rPr lang="cs-CZ" sz="1000" b="1" kern="1200" dirty="0"/>
            <a:t>)</a:t>
          </a:r>
          <a:endParaRPr lang="cs-CZ" sz="1000" b="0" i="1" kern="1200" dirty="0"/>
        </a:p>
      </dsp:txBody>
      <dsp:txXfrm>
        <a:off x="1803422" y="1737364"/>
        <a:ext cx="1224689" cy="716968"/>
      </dsp:txXfrm>
    </dsp:sp>
    <dsp:sp modelId="{34B32203-6E3D-4FC3-8C20-BA232E1118F8}">
      <dsp:nvSpPr>
        <dsp:cNvPr id="0" name=""/>
        <dsp:cNvSpPr/>
      </dsp:nvSpPr>
      <dsp:spPr>
        <a:xfrm rot="10800000">
          <a:off x="1400326" y="1938455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 rot="10800000">
        <a:off x="1481053" y="2001412"/>
        <a:ext cx="188364" cy="188872"/>
      </dsp:txXfrm>
    </dsp:sp>
    <dsp:sp modelId="{3784431B-A1D2-4F51-BAB6-613E7DE2F203}">
      <dsp:nvSpPr>
        <dsp:cNvPr id="0" name=""/>
        <dsp:cNvSpPr/>
      </dsp:nvSpPr>
      <dsp:spPr>
        <a:xfrm>
          <a:off x="4094" y="1715058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Návrh kupní smlouvy (</a:t>
          </a:r>
          <a:r>
            <a:rPr lang="cs-CZ" sz="1000" b="1" kern="1200" dirty="0" err="1"/>
            <a:t>SPA</a:t>
          </a:r>
          <a:r>
            <a:rPr lang="cs-CZ" sz="1000" b="1" kern="1200" dirty="0"/>
            <a:t>)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- prodávající</a:t>
          </a:r>
          <a:endParaRPr lang="cs-CZ" sz="1000" b="1" i="0" kern="1200" dirty="0"/>
        </a:p>
      </dsp:txBody>
      <dsp:txXfrm>
        <a:off x="26400" y="1737364"/>
        <a:ext cx="1224689" cy="716968"/>
      </dsp:txXfrm>
    </dsp:sp>
    <dsp:sp modelId="{62B8C3F5-D24E-4911-9A28-DC73917E4F97}">
      <dsp:nvSpPr>
        <dsp:cNvPr id="0" name=""/>
        <dsp:cNvSpPr/>
      </dsp:nvSpPr>
      <dsp:spPr>
        <a:xfrm rot="5400000">
          <a:off x="504199" y="2565490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 rot="-5400000">
        <a:off x="544309" y="2588338"/>
        <a:ext cx="188872" cy="188364"/>
      </dsp:txXfrm>
    </dsp:sp>
    <dsp:sp modelId="{5F5077B9-6403-4CA3-A211-50F26931E7F4}">
      <dsp:nvSpPr>
        <dsp:cNvPr id="0" name=""/>
        <dsp:cNvSpPr/>
      </dsp:nvSpPr>
      <dsp:spPr>
        <a:xfrm>
          <a:off x="4094" y="2984360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i="0" kern="1200" dirty="0"/>
            <a:t>„závazné“ nabídky zájemce/</a:t>
          </a:r>
          <a:r>
            <a:rPr lang="cs-CZ" sz="1000" b="1" i="0" kern="1200" dirty="0" err="1"/>
            <a:t>ců</a:t>
          </a:r>
          <a:endParaRPr lang="cs-CZ" sz="1000" b="1" kern="1200" dirty="0"/>
        </a:p>
      </dsp:txBody>
      <dsp:txXfrm>
        <a:off x="26400" y="3006666"/>
        <a:ext cx="1224689" cy="716968"/>
      </dsp:txXfrm>
    </dsp:sp>
    <dsp:sp modelId="{2BD63230-0B68-46D0-BFFA-9007776AF906}">
      <dsp:nvSpPr>
        <dsp:cNvPr id="0" name=""/>
        <dsp:cNvSpPr/>
      </dsp:nvSpPr>
      <dsp:spPr>
        <a:xfrm>
          <a:off x="1385094" y="3207757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>
        <a:off x="1385094" y="3270714"/>
        <a:ext cx="188364" cy="188872"/>
      </dsp:txXfrm>
    </dsp:sp>
    <dsp:sp modelId="{30C3B839-ABC7-415C-BDBD-002D29D76B3E}">
      <dsp:nvSpPr>
        <dsp:cNvPr id="0" name=""/>
        <dsp:cNvSpPr/>
      </dsp:nvSpPr>
      <dsp:spPr>
        <a:xfrm>
          <a:off x="1781116" y="2984360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 err="1"/>
            <a:t>Shortlist</a:t>
          </a:r>
          <a:r>
            <a:rPr lang="cs-CZ" sz="1000" b="1" kern="1200" dirty="0"/>
            <a:t> (další kolo nabídek)</a:t>
          </a:r>
        </a:p>
      </dsp:txBody>
      <dsp:txXfrm>
        <a:off x="1803422" y="3006666"/>
        <a:ext cx="1224689" cy="716968"/>
      </dsp:txXfrm>
    </dsp:sp>
    <dsp:sp modelId="{E1AFE8D9-682C-4DBA-96E1-38857C1CB86F}">
      <dsp:nvSpPr>
        <dsp:cNvPr id="0" name=""/>
        <dsp:cNvSpPr/>
      </dsp:nvSpPr>
      <dsp:spPr>
        <a:xfrm>
          <a:off x="3162116" y="3207757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>
        <a:off x="3162116" y="3270714"/>
        <a:ext cx="188364" cy="188872"/>
      </dsp:txXfrm>
    </dsp:sp>
    <dsp:sp modelId="{67F48EE6-9E13-467F-868A-7E25FC77C6D3}">
      <dsp:nvSpPr>
        <dsp:cNvPr id="0" name=""/>
        <dsp:cNvSpPr/>
      </dsp:nvSpPr>
      <dsp:spPr>
        <a:xfrm>
          <a:off x="3558138" y="2984360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Vítězná nabídka</a:t>
          </a:r>
        </a:p>
      </dsp:txBody>
      <dsp:txXfrm>
        <a:off x="3580444" y="3006666"/>
        <a:ext cx="1224689" cy="716968"/>
      </dsp:txXfrm>
    </dsp:sp>
    <dsp:sp modelId="{D77E4194-8596-4B69-A0FF-70ED9CE214D5}">
      <dsp:nvSpPr>
        <dsp:cNvPr id="0" name=""/>
        <dsp:cNvSpPr/>
      </dsp:nvSpPr>
      <dsp:spPr>
        <a:xfrm>
          <a:off x="4939138" y="3207757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>
        <a:off x="4939138" y="3270714"/>
        <a:ext cx="188364" cy="188872"/>
      </dsp:txXfrm>
    </dsp:sp>
    <dsp:sp modelId="{F3AB15D3-FABF-4B10-B398-3E5BFB0B7C14}">
      <dsp:nvSpPr>
        <dsp:cNvPr id="0" name=""/>
        <dsp:cNvSpPr/>
      </dsp:nvSpPr>
      <dsp:spPr>
        <a:xfrm>
          <a:off x="5335160" y="2984360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Jednání, dohoda („</a:t>
          </a:r>
          <a:r>
            <a:rPr lang="cs-CZ" sz="1000" b="1" kern="1200" dirty="0" err="1"/>
            <a:t>Agreed</a:t>
          </a:r>
          <a:r>
            <a:rPr lang="cs-CZ" sz="1000" b="1" kern="1200" dirty="0"/>
            <a:t> </a:t>
          </a:r>
          <a:r>
            <a:rPr lang="cs-CZ" sz="1000" b="1" kern="1200" dirty="0" err="1"/>
            <a:t>form</a:t>
          </a:r>
          <a:r>
            <a:rPr lang="cs-CZ" sz="1000" b="1" kern="1200" dirty="0"/>
            <a:t> </a:t>
          </a:r>
          <a:r>
            <a:rPr lang="cs-CZ" sz="1000" b="1" kern="1200" dirty="0" err="1"/>
            <a:t>SPA</a:t>
          </a:r>
          <a:r>
            <a:rPr lang="cs-CZ" sz="1000" b="1" kern="1200" dirty="0"/>
            <a:t>“)</a:t>
          </a:r>
        </a:p>
      </dsp:txBody>
      <dsp:txXfrm>
        <a:off x="5357466" y="3006666"/>
        <a:ext cx="1224689" cy="716968"/>
      </dsp:txXfrm>
    </dsp:sp>
    <dsp:sp modelId="{BCC3FB23-5361-48DA-8D73-5F5B8257D0BC}">
      <dsp:nvSpPr>
        <dsp:cNvPr id="0" name=""/>
        <dsp:cNvSpPr/>
      </dsp:nvSpPr>
      <dsp:spPr>
        <a:xfrm>
          <a:off x="6716160" y="3207757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>
        <a:off x="6716160" y="3270714"/>
        <a:ext cx="188364" cy="188872"/>
      </dsp:txXfrm>
    </dsp:sp>
    <dsp:sp modelId="{8E878BC4-8912-4178-9F2E-63BF1ECFFBEA}">
      <dsp:nvSpPr>
        <dsp:cNvPr id="0" name=""/>
        <dsp:cNvSpPr/>
      </dsp:nvSpPr>
      <dsp:spPr>
        <a:xfrm>
          <a:off x="7112182" y="2984360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Podpis (</a:t>
          </a:r>
          <a:r>
            <a:rPr lang="cs-CZ" sz="1000" b="1" kern="1200" dirty="0" err="1"/>
            <a:t>Signing</a:t>
          </a:r>
          <a:r>
            <a:rPr lang="cs-CZ" sz="1000" b="1" kern="1200" dirty="0"/>
            <a:t>)</a:t>
          </a:r>
          <a:endParaRPr lang="cs-CZ" sz="1000" b="0" i="1" kern="1200" dirty="0"/>
        </a:p>
      </dsp:txBody>
      <dsp:txXfrm>
        <a:off x="7134488" y="3006666"/>
        <a:ext cx="1224689" cy="716968"/>
      </dsp:txXfrm>
    </dsp:sp>
    <dsp:sp modelId="{C59C0CB7-149E-4435-B690-0528D8EFBEA5}">
      <dsp:nvSpPr>
        <dsp:cNvPr id="0" name=""/>
        <dsp:cNvSpPr/>
      </dsp:nvSpPr>
      <dsp:spPr>
        <a:xfrm rot="5400000">
          <a:off x="7612286" y="3834792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 rot="-5400000">
        <a:off x="7652396" y="3857640"/>
        <a:ext cx="188872" cy="188364"/>
      </dsp:txXfrm>
    </dsp:sp>
    <dsp:sp modelId="{943BC048-A90D-4D9E-9821-A85ACAC327CA}">
      <dsp:nvSpPr>
        <dsp:cNvPr id="0" name=""/>
        <dsp:cNvSpPr/>
      </dsp:nvSpPr>
      <dsp:spPr>
        <a:xfrm>
          <a:off x="7112182" y="4253661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i="0" kern="1200" dirty="0"/>
            <a:t>Odkládací podmínky / </a:t>
          </a:r>
          <a:r>
            <a:rPr lang="cs-CZ" sz="1000" b="1" i="0" kern="1200" dirty="0" err="1"/>
            <a:t>CPs</a:t>
          </a:r>
          <a:endParaRPr lang="cs-CZ" sz="1000" b="1" i="0" kern="1200" dirty="0"/>
        </a:p>
      </dsp:txBody>
      <dsp:txXfrm>
        <a:off x="7134488" y="4275967"/>
        <a:ext cx="1224689" cy="716968"/>
      </dsp:txXfrm>
    </dsp:sp>
    <dsp:sp modelId="{62E498A3-2517-45DC-9A8A-B34427D9BB6A}">
      <dsp:nvSpPr>
        <dsp:cNvPr id="0" name=""/>
        <dsp:cNvSpPr/>
      </dsp:nvSpPr>
      <dsp:spPr>
        <a:xfrm rot="10800000">
          <a:off x="6731391" y="4477058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 rot="10800000">
        <a:off x="6812118" y="4540015"/>
        <a:ext cx="188364" cy="188872"/>
      </dsp:txXfrm>
    </dsp:sp>
    <dsp:sp modelId="{C2AC126E-D58A-4775-9E89-4DDBC214AEC1}">
      <dsp:nvSpPr>
        <dsp:cNvPr id="0" name=""/>
        <dsp:cNvSpPr/>
      </dsp:nvSpPr>
      <dsp:spPr>
        <a:xfrm>
          <a:off x="5335160" y="4253661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i="0" kern="1200" dirty="0"/>
            <a:t>Vypořádání (</a:t>
          </a:r>
          <a:r>
            <a:rPr lang="cs-CZ" sz="1000" b="1" i="0" kern="1200" dirty="0" err="1"/>
            <a:t>Closing</a:t>
          </a:r>
          <a:r>
            <a:rPr lang="cs-CZ" sz="1000" b="1" i="0" kern="1200" dirty="0"/>
            <a:t>)</a:t>
          </a:r>
        </a:p>
      </dsp:txBody>
      <dsp:txXfrm>
        <a:off x="5357466" y="4275967"/>
        <a:ext cx="1224689" cy="716968"/>
      </dsp:txXfrm>
    </dsp:sp>
    <dsp:sp modelId="{65357D0F-DA24-4B22-B866-9C5F45D83539}">
      <dsp:nvSpPr>
        <dsp:cNvPr id="0" name=""/>
        <dsp:cNvSpPr/>
      </dsp:nvSpPr>
      <dsp:spPr>
        <a:xfrm rot="10800000">
          <a:off x="4954369" y="4477058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 rot="10800000">
        <a:off x="5035096" y="4540015"/>
        <a:ext cx="188364" cy="188872"/>
      </dsp:txXfrm>
    </dsp:sp>
    <dsp:sp modelId="{D6E5D510-5AE4-40FC-8E5D-C5B3280B3071}">
      <dsp:nvSpPr>
        <dsp:cNvPr id="0" name=""/>
        <dsp:cNvSpPr/>
      </dsp:nvSpPr>
      <dsp:spPr>
        <a:xfrm>
          <a:off x="3558138" y="4253661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i="0" kern="1200" dirty="0"/>
            <a:t>Úpravy ceny / </a:t>
          </a:r>
          <a:r>
            <a:rPr lang="cs-CZ" sz="1000" b="1" i="0" kern="1200" dirty="0" err="1"/>
            <a:t>Closing</a:t>
          </a:r>
          <a:r>
            <a:rPr lang="cs-CZ" sz="1000" b="1" i="0" kern="1200" dirty="0"/>
            <a:t> </a:t>
          </a:r>
          <a:r>
            <a:rPr lang="cs-CZ" sz="1000" b="1" i="0" kern="1200" dirty="0" err="1"/>
            <a:t>Accounts</a:t>
          </a:r>
          <a:endParaRPr lang="cs-CZ" sz="1000" b="1" i="0" kern="1200" dirty="0"/>
        </a:p>
      </dsp:txBody>
      <dsp:txXfrm>
        <a:off x="3580444" y="4275967"/>
        <a:ext cx="1224689" cy="716968"/>
      </dsp:txXfrm>
    </dsp:sp>
    <dsp:sp modelId="{F0D65399-0147-47D5-9455-0DE6DE7AB3D4}">
      <dsp:nvSpPr>
        <dsp:cNvPr id="0" name=""/>
        <dsp:cNvSpPr/>
      </dsp:nvSpPr>
      <dsp:spPr>
        <a:xfrm rot="10800000">
          <a:off x="3177347" y="4477058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 rot="10800000">
        <a:off x="3258074" y="4540015"/>
        <a:ext cx="188364" cy="188872"/>
      </dsp:txXfrm>
    </dsp:sp>
    <dsp:sp modelId="{85255D68-460B-43F3-98F6-D967AFF13228}">
      <dsp:nvSpPr>
        <dsp:cNvPr id="0" name=""/>
        <dsp:cNvSpPr/>
      </dsp:nvSpPr>
      <dsp:spPr>
        <a:xfrm>
          <a:off x="1781116" y="4253661"/>
          <a:ext cx="1269301" cy="761580"/>
        </a:xfrm>
        <a:prstGeom prst="roundRect">
          <a:avLst>
            <a:gd name="adj" fmla="val 10000"/>
          </a:avLst>
        </a:prstGeom>
        <a:noFill/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i="0" kern="1200" dirty="0"/>
            <a:t>Následné podmínky / </a:t>
          </a:r>
          <a:r>
            <a:rPr lang="cs-CZ" sz="1000" b="1" i="0" kern="1200" dirty="0" err="1"/>
            <a:t>CSs</a:t>
          </a:r>
          <a:endParaRPr lang="cs-CZ" sz="1000" b="1" i="0" kern="1200" dirty="0"/>
        </a:p>
      </dsp:txBody>
      <dsp:txXfrm>
        <a:off x="1803422" y="4275967"/>
        <a:ext cx="1224689" cy="71696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32E410-3365-494B-A367-1744D2F2D527}">
      <dsp:nvSpPr>
        <dsp:cNvPr id="0" name=""/>
        <dsp:cNvSpPr/>
      </dsp:nvSpPr>
      <dsp:spPr>
        <a:xfrm>
          <a:off x="632059" y="981"/>
          <a:ext cx="1370212" cy="822127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0" kern="1200" dirty="0">
              <a:solidFill>
                <a:schemeClr val="tx1"/>
              </a:solidFill>
            </a:rPr>
            <a:t>Příprava a zahájení procesu</a:t>
          </a:r>
        </a:p>
      </dsp:txBody>
      <dsp:txXfrm>
        <a:off x="656138" y="25060"/>
        <a:ext cx="1322054" cy="773969"/>
      </dsp:txXfrm>
    </dsp:sp>
    <dsp:sp modelId="{85E440E1-6AC4-4872-8CDB-AACE7C1CF22B}">
      <dsp:nvSpPr>
        <dsp:cNvPr id="0" name=""/>
        <dsp:cNvSpPr/>
      </dsp:nvSpPr>
      <dsp:spPr>
        <a:xfrm>
          <a:off x="2122850" y="242138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i="0" kern="1200"/>
        </a:p>
      </dsp:txBody>
      <dsp:txXfrm>
        <a:off x="2122850" y="310100"/>
        <a:ext cx="203340" cy="203888"/>
      </dsp:txXfrm>
    </dsp:sp>
    <dsp:sp modelId="{3302F8D1-6174-43B6-80F6-7ABEF5395251}">
      <dsp:nvSpPr>
        <dsp:cNvPr id="0" name=""/>
        <dsp:cNvSpPr/>
      </dsp:nvSpPr>
      <dsp:spPr>
        <a:xfrm>
          <a:off x="2550357" y="981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0" kern="1200" dirty="0"/>
            <a:t>Vyhledání a oslovení zájemce</a:t>
          </a:r>
        </a:p>
      </dsp:txBody>
      <dsp:txXfrm>
        <a:off x="2574436" y="25060"/>
        <a:ext cx="1322054" cy="773969"/>
      </dsp:txXfrm>
    </dsp:sp>
    <dsp:sp modelId="{1C1576F0-F965-43CA-B32A-271CCC8BBE86}">
      <dsp:nvSpPr>
        <dsp:cNvPr id="0" name=""/>
        <dsp:cNvSpPr/>
      </dsp:nvSpPr>
      <dsp:spPr>
        <a:xfrm>
          <a:off x="4041148" y="242138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i="0" kern="1200"/>
        </a:p>
      </dsp:txBody>
      <dsp:txXfrm>
        <a:off x="4041148" y="310100"/>
        <a:ext cx="203340" cy="203888"/>
      </dsp:txXfrm>
    </dsp:sp>
    <dsp:sp modelId="{31C59386-C4B7-40D6-B155-A0CC8046E80A}">
      <dsp:nvSpPr>
        <dsp:cNvPr id="0" name=""/>
        <dsp:cNvSpPr/>
      </dsp:nvSpPr>
      <dsp:spPr>
        <a:xfrm>
          <a:off x="4468655" y="981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0" kern="1200" dirty="0"/>
            <a:t>Dohoda o mlčenlivosti (</a:t>
          </a:r>
          <a:r>
            <a:rPr lang="cs-CZ" sz="1200" b="0" i="0" kern="1200" dirty="0" err="1"/>
            <a:t>NDA</a:t>
          </a:r>
          <a:r>
            <a:rPr lang="cs-CZ" sz="1200" b="0" i="0" kern="1200" dirty="0"/>
            <a:t>)</a:t>
          </a:r>
        </a:p>
      </dsp:txBody>
      <dsp:txXfrm>
        <a:off x="4492734" y="25060"/>
        <a:ext cx="1322054" cy="773969"/>
      </dsp:txXfrm>
    </dsp:sp>
    <dsp:sp modelId="{129179D8-F1A1-40F4-9A2C-40E0816CEE97}">
      <dsp:nvSpPr>
        <dsp:cNvPr id="0" name=""/>
        <dsp:cNvSpPr/>
      </dsp:nvSpPr>
      <dsp:spPr>
        <a:xfrm>
          <a:off x="5959446" y="242138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i="0" kern="1200"/>
        </a:p>
      </dsp:txBody>
      <dsp:txXfrm>
        <a:off x="5959446" y="310100"/>
        <a:ext cx="203340" cy="203888"/>
      </dsp:txXfrm>
    </dsp:sp>
    <dsp:sp modelId="{690FBC40-FDDA-4C5F-B2B6-BA82ED89E8AB}">
      <dsp:nvSpPr>
        <dsp:cNvPr id="0" name=""/>
        <dsp:cNvSpPr/>
      </dsp:nvSpPr>
      <dsp:spPr>
        <a:xfrm>
          <a:off x="6386952" y="981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0" kern="1200" dirty="0"/>
            <a:t>Informační Memorandum, Management </a:t>
          </a:r>
          <a:r>
            <a:rPr lang="cs-CZ" sz="1200" b="0" i="0" kern="1200" dirty="0" err="1"/>
            <a:t>Presentations</a:t>
          </a:r>
          <a:endParaRPr lang="cs-CZ" sz="1200" b="0" i="0" kern="1200" dirty="0"/>
        </a:p>
      </dsp:txBody>
      <dsp:txXfrm>
        <a:off x="6411031" y="25060"/>
        <a:ext cx="1322054" cy="773969"/>
      </dsp:txXfrm>
    </dsp:sp>
    <dsp:sp modelId="{712EC755-27ED-4385-B25F-5FC38AA796EA}">
      <dsp:nvSpPr>
        <dsp:cNvPr id="0" name=""/>
        <dsp:cNvSpPr/>
      </dsp:nvSpPr>
      <dsp:spPr>
        <a:xfrm rot="5400000">
          <a:off x="6926816" y="919024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i="0" kern="1200"/>
        </a:p>
      </dsp:txBody>
      <dsp:txXfrm rot="-5400000">
        <a:off x="6970115" y="943688"/>
        <a:ext cx="203888" cy="203340"/>
      </dsp:txXfrm>
    </dsp:sp>
    <dsp:sp modelId="{A3D97B7B-5134-4984-99E5-28CB9B4EF218}">
      <dsp:nvSpPr>
        <dsp:cNvPr id="0" name=""/>
        <dsp:cNvSpPr/>
      </dsp:nvSpPr>
      <dsp:spPr>
        <a:xfrm>
          <a:off x="6386952" y="1371194"/>
          <a:ext cx="1370212" cy="822127"/>
        </a:xfrm>
        <a:prstGeom prst="roundRect">
          <a:avLst>
            <a:gd name="adj" fmla="val 10000"/>
          </a:avLst>
        </a:prstGeom>
        <a:solidFill>
          <a:srgbClr val="FF0000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i="0" kern="1200" dirty="0" err="1"/>
            <a:t>LoI</a:t>
          </a:r>
          <a:r>
            <a:rPr lang="cs-CZ" sz="1200" b="1" i="0" kern="1200" dirty="0"/>
            <a:t>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i="0" kern="1200" dirty="0"/>
            <a:t>nebo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i="0" kern="1200" dirty="0"/>
            <a:t>Term-</a:t>
          </a:r>
          <a:r>
            <a:rPr lang="cs-CZ" sz="1200" b="1" i="0" kern="1200" dirty="0" err="1"/>
            <a:t>Sheet</a:t>
          </a:r>
          <a:endParaRPr lang="cs-CZ" sz="1200" b="1" i="0" kern="1200" dirty="0"/>
        </a:p>
      </dsp:txBody>
      <dsp:txXfrm>
        <a:off x="6411031" y="1395273"/>
        <a:ext cx="1322054" cy="773969"/>
      </dsp:txXfrm>
    </dsp:sp>
    <dsp:sp modelId="{93ED5C7C-D354-4B63-B1A5-98F30573BA3F}">
      <dsp:nvSpPr>
        <dsp:cNvPr id="0" name=""/>
        <dsp:cNvSpPr/>
      </dsp:nvSpPr>
      <dsp:spPr>
        <a:xfrm rot="10800000">
          <a:off x="5975889" y="1612351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i="0" kern="1200"/>
        </a:p>
      </dsp:txBody>
      <dsp:txXfrm rot="10800000">
        <a:off x="6063034" y="1680313"/>
        <a:ext cx="203340" cy="203888"/>
      </dsp:txXfrm>
    </dsp:sp>
    <dsp:sp modelId="{DCD2E134-18E4-4A63-985E-935770130ECA}">
      <dsp:nvSpPr>
        <dsp:cNvPr id="0" name=""/>
        <dsp:cNvSpPr/>
      </dsp:nvSpPr>
      <dsp:spPr>
        <a:xfrm>
          <a:off x="4468655" y="1371194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0" kern="1200" dirty="0" err="1"/>
            <a:t>Due</a:t>
          </a:r>
          <a:r>
            <a:rPr lang="cs-CZ" sz="1200" b="0" i="0" kern="1200" dirty="0"/>
            <a:t> Diligence (Data </a:t>
          </a:r>
          <a:r>
            <a:rPr lang="cs-CZ" sz="1200" b="0" i="0" kern="1200" dirty="0" err="1"/>
            <a:t>Room</a:t>
          </a:r>
          <a:r>
            <a:rPr lang="cs-CZ" sz="1200" b="0" i="0" kern="1200" dirty="0"/>
            <a:t>)</a:t>
          </a:r>
        </a:p>
      </dsp:txBody>
      <dsp:txXfrm>
        <a:off x="4492734" y="1395273"/>
        <a:ext cx="1322054" cy="773969"/>
      </dsp:txXfrm>
    </dsp:sp>
    <dsp:sp modelId="{34B32203-6E3D-4FC3-8C20-BA232E1118F8}">
      <dsp:nvSpPr>
        <dsp:cNvPr id="0" name=""/>
        <dsp:cNvSpPr/>
      </dsp:nvSpPr>
      <dsp:spPr>
        <a:xfrm rot="10800000">
          <a:off x="4057591" y="1612351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i="0" kern="1200"/>
        </a:p>
      </dsp:txBody>
      <dsp:txXfrm rot="10800000">
        <a:off x="4144736" y="1680313"/>
        <a:ext cx="203340" cy="203888"/>
      </dsp:txXfrm>
    </dsp:sp>
    <dsp:sp modelId="{3784431B-A1D2-4F51-BAB6-613E7DE2F203}">
      <dsp:nvSpPr>
        <dsp:cNvPr id="0" name=""/>
        <dsp:cNvSpPr/>
      </dsp:nvSpPr>
      <dsp:spPr>
        <a:xfrm>
          <a:off x="2550357" y="1371194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0" kern="1200" dirty="0"/>
            <a:t>Návrh kupní smlouvy (</a:t>
          </a:r>
          <a:r>
            <a:rPr lang="cs-CZ" sz="1200" b="0" i="0" kern="1200" dirty="0" err="1"/>
            <a:t>SPA</a:t>
          </a:r>
          <a:r>
            <a:rPr lang="cs-CZ" sz="1200" b="0" i="0" kern="1200" dirty="0"/>
            <a:t>)</a:t>
          </a:r>
        </a:p>
      </dsp:txBody>
      <dsp:txXfrm>
        <a:off x="2574436" y="1395273"/>
        <a:ext cx="1322054" cy="773969"/>
      </dsp:txXfrm>
    </dsp:sp>
    <dsp:sp modelId="{62B8C3F5-D24E-4911-9A28-DC73917E4F97}">
      <dsp:nvSpPr>
        <dsp:cNvPr id="0" name=""/>
        <dsp:cNvSpPr/>
      </dsp:nvSpPr>
      <dsp:spPr>
        <a:xfrm rot="10800000">
          <a:off x="2139293" y="1612351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i="0" kern="1200"/>
        </a:p>
      </dsp:txBody>
      <dsp:txXfrm rot="10800000">
        <a:off x="2226438" y="1680313"/>
        <a:ext cx="203340" cy="203888"/>
      </dsp:txXfrm>
    </dsp:sp>
    <dsp:sp modelId="{F3AB15D3-FABF-4B10-B398-3E5BFB0B7C14}">
      <dsp:nvSpPr>
        <dsp:cNvPr id="0" name=""/>
        <dsp:cNvSpPr/>
      </dsp:nvSpPr>
      <dsp:spPr>
        <a:xfrm>
          <a:off x="632059" y="1371194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0" kern="1200" dirty="0"/>
            <a:t>Jednání, dohoda („</a:t>
          </a:r>
          <a:r>
            <a:rPr lang="cs-CZ" sz="1200" b="0" i="0" kern="1200" dirty="0" err="1"/>
            <a:t>Agreed</a:t>
          </a:r>
          <a:r>
            <a:rPr lang="cs-CZ" sz="1200" b="0" i="0" kern="1200" dirty="0"/>
            <a:t> </a:t>
          </a:r>
          <a:r>
            <a:rPr lang="cs-CZ" sz="1200" b="0" i="0" kern="1200" dirty="0" err="1"/>
            <a:t>form</a:t>
          </a:r>
          <a:r>
            <a:rPr lang="cs-CZ" sz="1200" b="0" i="0" kern="1200" dirty="0"/>
            <a:t> </a:t>
          </a:r>
          <a:r>
            <a:rPr lang="cs-CZ" sz="1200" b="0" i="0" kern="1200" dirty="0" err="1"/>
            <a:t>SPA</a:t>
          </a:r>
          <a:r>
            <a:rPr lang="cs-CZ" sz="1200" b="0" i="0" kern="1200" dirty="0"/>
            <a:t>“)</a:t>
          </a:r>
        </a:p>
      </dsp:txBody>
      <dsp:txXfrm>
        <a:off x="656138" y="1395273"/>
        <a:ext cx="1322054" cy="773969"/>
      </dsp:txXfrm>
    </dsp:sp>
    <dsp:sp modelId="{BCC3FB23-5361-48DA-8D73-5F5B8257D0BC}">
      <dsp:nvSpPr>
        <dsp:cNvPr id="0" name=""/>
        <dsp:cNvSpPr/>
      </dsp:nvSpPr>
      <dsp:spPr>
        <a:xfrm rot="5400000">
          <a:off x="1171923" y="2289236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i="0" kern="1200"/>
        </a:p>
      </dsp:txBody>
      <dsp:txXfrm rot="-5400000">
        <a:off x="1215222" y="2313900"/>
        <a:ext cx="203888" cy="203340"/>
      </dsp:txXfrm>
    </dsp:sp>
    <dsp:sp modelId="{8E878BC4-8912-4178-9F2E-63BF1ECFFBEA}">
      <dsp:nvSpPr>
        <dsp:cNvPr id="0" name=""/>
        <dsp:cNvSpPr/>
      </dsp:nvSpPr>
      <dsp:spPr>
        <a:xfrm>
          <a:off x="632059" y="2741407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0" kern="1200" dirty="0"/>
            <a:t>Podpis (</a:t>
          </a:r>
          <a:r>
            <a:rPr lang="cs-CZ" sz="1200" b="0" i="0" kern="1200" dirty="0" err="1"/>
            <a:t>Signing</a:t>
          </a:r>
          <a:r>
            <a:rPr lang="cs-CZ" sz="1200" b="0" i="0" kern="1200" dirty="0"/>
            <a:t>)</a:t>
          </a:r>
        </a:p>
      </dsp:txBody>
      <dsp:txXfrm>
        <a:off x="656138" y="2765486"/>
        <a:ext cx="1322054" cy="773969"/>
      </dsp:txXfrm>
    </dsp:sp>
    <dsp:sp modelId="{C59C0CB7-149E-4435-B690-0528D8EFBEA5}">
      <dsp:nvSpPr>
        <dsp:cNvPr id="0" name=""/>
        <dsp:cNvSpPr/>
      </dsp:nvSpPr>
      <dsp:spPr>
        <a:xfrm>
          <a:off x="2122850" y="2982564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i="0" kern="1200"/>
        </a:p>
      </dsp:txBody>
      <dsp:txXfrm>
        <a:off x="2122850" y="3050526"/>
        <a:ext cx="203340" cy="203888"/>
      </dsp:txXfrm>
    </dsp:sp>
    <dsp:sp modelId="{943BC048-A90D-4D9E-9821-A85ACAC327CA}">
      <dsp:nvSpPr>
        <dsp:cNvPr id="0" name=""/>
        <dsp:cNvSpPr/>
      </dsp:nvSpPr>
      <dsp:spPr>
        <a:xfrm>
          <a:off x="2550357" y="2741407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0" kern="1200" dirty="0"/>
            <a:t>Odkládací podmínky / </a:t>
          </a:r>
          <a:r>
            <a:rPr lang="cs-CZ" sz="1200" b="0" i="0" kern="1200" dirty="0" err="1"/>
            <a:t>CPs</a:t>
          </a:r>
          <a:endParaRPr lang="cs-CZ" sz="1200" b="0" i="0" kern="1200" dirty="0"/>
        </a:p>
      </dsp:txBody>
      <dsp:txXfrm>
        <a:off x="2574436" y="2765486"/>
        <a:ext cx="1322054" cy="773969"/>
      </dsp:txXfrm>
    </dsp:sp>
    <dsp:sp modelId="{62E498A3-2517-45DC-9A8A-B34427D9BB6A}">
      <dsp:nvSpPr>
        <dsp:cNvPr id="0" name=""/>
        <dsp:cNvSpPr/>
      </dsp:nvSpPr>
      <dsp:spPr>
        <a:xfrm>
          <a:off x="4041148" y="2982564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i="0" kern="1200"/>
        </a:p>
      </dsp:txBody>
      <dsp:txXfrm>
        <a:off x="4041148" y="3050526"/>
        <a:ext cx="203340" cy="203888"/>
      </dsp:txXfrm>
    </dsp:sp>
    <dsp:sp modelId="{C2AC126E-D58A-4775-9E89-4DDBC214AEC1}">
      <dsp:nvSpPr>
        <dsp:cNvPr id="0" name=""/>
        <dsp:cNvSpPr/>
      </dsp:nvSpPr>
      <dsp:spPr>
        <a:xfrm>
          <a:off x="4468655" y="2741407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0" kern="1200" dirty="0"/>
            <a:t>Vypořádání (</a:t>
          </a:r>
          <a:r>
            <a:rPr lang="cs-CZ" sz="1200" b="0" i="0" kern="1200" dirty="0" err="1"/>
            <a:t>Closing</a:t>
          </a:r>
          <a:r>
            <a:rPr lang="cs-CZ" sz="1200" b="0" i="0" kern="1200" dirty="0"/>
            <a:t>)</a:t>
          </a:r>
        </a:p>
      </dsp:txBody>
      <dsp:txXfrm>
        <a:off x="4492734" y="2765486"/>
        <a:ext cx="1322054" cy="773969"/>
      </dsp:txXfrm>
    </dsp:sp>
    <dsp:sp modelId="{65357D0F-DA24-4B22-B866-9C5F45D83539}">
      <dsp:nvSpPr>
        <dsp:cNvPr id="0" name=""/>
        <dsp:cNvSpPr/>
      </dsp:nvSpPr>
      <dsp:spPr>
        <a:xfrm>
          <a:off x="5959446" y="2982564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i="0" kern="1200"/>
        </a:p>
      </dsp:txBody>
      <dsp:txXfrm>
        <a:off x="5959446" y="3050526"/>
        <a:ext cx="203340" cy="203888"/>
      </dsp:txXfrm>
    </dsp:sp>
    <dsp:sp modelId="{D6E5D510-5AE4-40FC-8E5D-C5B3280B3071}">
      <dsp:nvSpPr>
        <dsp:cNvPr id="0" name=""/>
        <dsp:cNvSpPr/>
      </dsp:nvSpPr>
      <dsp:spPr>
        <a:xfrm>
          <a:off x="6386952" y="2741407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0" kern="1200" dirty="0"/>
            <a:t>Úpravy ceny / </a:t>
          </a:r>
          <a:r>
            <a:rPr lang="cs-CZ" sz="1200" b="0" i="0" kern="1200" dirty="0" err="1"/>
            <a:t>Closing</a:t>
          </a:r>
          <a:r>
            <a:rPr lang="cs-CZ" sz="1200" b="0" i="0" kern="1200" dirty="0"/>
            <a:t> </a:t>
          </a:r>
          <a:r>
            <a:rPr lang="cs-CZ" sz="1200" b="0" i="0" kern="1200" dirty="0" err="1"/>
            <a:t>Accounts</a:t>
          </a:r>
          <a:endParaRPr lang="cs-CZ" sz="1200" b="0" i="0" kern="1200" dirty="0"/>
        </a:p>
      </dsp:txBody>
      <dsp:txXfrm>
        <a:off x="6411031" y="2765486"/>
        <a:ext cx="1322054" cy="773969"/>
      </dsp:txXfrm>
    </dsp:sp>
    <dsp:sp modelId="{F0D65399-0147-47D5-9455-0DE6DE7AB3D4}">
      <dsp:nvSpPr>
        <dsp:cNvPr id="0" name=""/>
        <dsp:cNvSpPr/>
      </dsp:nvSpPr>
      <dsp:spPr>
        <a:xfrm rot="5400000">
          <a:off x="6926816" y="3659449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i="0" kern="1200"/>
        </a:p>
      </dsp:txBody>
      <dsp:txXfrm rot="-5400000">
        <a:off x="6970115" y="3684113"/>
        <a:ext cx="203888" cy="203340"/>
      </dsp:txXfrm>
    </dsp:sp>
    <dsp:sp modelId="{85255D68-460B-43F3-98F6-D967AFF13228}">
      <dsp:nvSpPr>
        <dsp:cNvPr id="0" name=""/>
        <dsp:cNvSpPr/>
      </dsp:nvSpPr>
      <dsp:spPr>
        <a:xfrm>
          <a:off x="6386952" y="4111619"/>
          <a:ext cx="1370212" cy="822127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0" kern="1200" dirty="0"/>
            <a:t>Následné podmínky / </a:t>
          </a:r>
          <a:r>
            <a:rPr lang="cs-CZ" sz="1200" b="0" i="0" kern="1200" dirty="0" err="1"/>
            <a:t>CSs</a:t>
          </a:r>
          <a:endParaRPr lang="cs-CZ" sz="1200" b="0" i="0" kern="1200" dirty="0"/>
        </a:p>
      </dsp:txBody>
      <dsp:txXfrm>
        <a:off x="6411031" y="4135698"/>
        <a:ext cx="1322054" cy="77396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3" y="2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0/2/2022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29308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3" y="9429308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6" y="3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0/2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88" tIns="49243" rIns="98488" bIns="49243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6"/>
            <a:ext cx="5438140" cy="4466988"/>
          </a:xfrm>
          <a:prstGeom prst="rect">
            <a:avLst/>
          </a:prstGeom>
        </p:spPr>
        <p:txBody>
          <a:bodyPr vert="horz" lIns="98488" tIns="49243" rIns="98488" bIns="4924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6" y="9428585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12474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41331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162818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456824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Presentation title</a:t>
            </a:r>
            <a:br>
              <a:rPr lang="en-US" sz="650" dirty="0">
                <a:latin typeface="+mn-lt"/>
              </a:rPr>
            </a:br>
            <a:r>
              <a:rPr lang="en-US" sz="650" dirty="0">
                <a:latin typeface="+mn-lt"/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. For information, contact Deloitte Czech Republic.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DD06410-D99E-4A86-B097-07C46E184CDF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0088" y="1700213"/>
            <a:ext cx="2667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825" y="1700213"/>
            <a:ext cx="26701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086475" y="1700213"/>
            <a:ext cx="26876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053583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2780590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Presentation title</a:t>
            </a:r>
            <a:br>
              <a:rPr lang="en-US" sz="650" dirty="0">
                <a:latin typeface="+mn-lt"/>
              </a:rPr>
            </a:br>
            <a:r>
              <a:rPr lang="en-US" sz="650" dirty="0">
                <a:latin typeface="+mn-lt"/>
              </a:rPr>
              <a:t>[To edit, click View &gt; Slide Master &gt; Slide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. For information, contact Deloitte Czech Republic.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4F63DE4-3641-4752-8490-8FDEAB763202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5005738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382B2C1-CF07-48F8-96F5-A9D5F4DF99E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77825" y="1706563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668838" y="1700213"/>
            <a:ext cx="41052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77825" y="4065588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668838" y="4065588"/>
            <a:ext cx="4105275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 Deloitte Czech Republic</a:t>
            </a:r>
          </a:p>
        </p:txBody>
      </p:sp>
    </p:spTree>
    <p:extLst>
      <p:ext uri="{BB962C8B-B14F-4D97-AF65-F5344CB8AC3E}">
        <p14:creationId xmlns:p14="http://schemas.microsoft.com/office/powerpoint/2010/main" val="297848098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FF5BD3C-7CF3-48E9-B568-6AA9175D52D7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 Deloitte Czech Republic</a:t>
            </a:r>
          </a:p>
        </p:txBody>
      </p:sp>
    </p:spTree>
    <p:extLst>
      <p:ext uri="{BB962C8B-B14F-4D97-AF65-F5344CB8AC3E}">
        <p14:creationId xmlns:p14="http://schemas.microsoft.com/office/powerpoint/2010/main" val="29903212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F4C58F5-FE9D-4B78-AE8E-5CC193A22FA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 Deloitte Czech Republic</a:t>
            </a:r>
          </a:p>
        </p:txBody>
      </p:sp>
    </p:spTree>
    <p:extLst>
      <p:ext uri="{BB962C8B-B14F-4D97-AF65-F5344CB8AC3E}">
        <p14:creationId xmlns:p14="http://schemas.microsoft.com/office/powerpoint/2010/main" val="168145167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 Deloitte Czech Republic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2A8376DF-C6A7-42D7-AEAA-B1C8127831E8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992406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object 2"/>
          <p:cNvSpPr/>
          <p:nvPr userDrawn="1"/>
        </p:nvSpPr>
        <p:spPr>
          <a:xfrm>
            <a:off x="376239" y="2018187"/>
            <a:ext cx="1632204" cy="75590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843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6E0312C-ADDB-4C5F-A780-D80133C23F91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3361156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>
            <a:fillRect/>
          </a:stretch>
        </p:blipFill>
        <p:spPr bwMode="auto">
          <a:xfrm>
            <a:off x="371475" y="2933700"/>
            <a:ext cx="180498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08693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CB8857E-B5DE-40A9-A68C-29428EAA068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643231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4217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645745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83675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CB8857E-B5DE-40A9-A68C-29428EAA068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442996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76238" y="6477000"/>
            <a:ext cx="40163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5E58715-D9E3-496D-A9DD-196B92D95BE9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824262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76238" y="6477000"/>
            <a:ext cx="40163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530FBB61-A025-4BD4-82C1-D5258D1319B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82264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F37FC4CC-C1F0-46F7-A2B8-89123006AD73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054286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76238" y="6477000"/>
            <a:ext cx="40163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© 2018 Pro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více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informací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kontaktujte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Deloitte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Česká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republika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F6B69B0-99E6-45DD-96E0-DDBE529001D0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633177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Presentation title</a:t>
            </a:r>
            <a:br>
              <a:rPr lang="en-US" sz="650" dirty="0">
                <a:solidFill>
                  <a:schemeClr val="bg1"/>
                </a:solidFill>
                <a:latin typeface="+mn-lt"/>
              </a:rPr>
            </a:br>
            <a:r>
              <a:rPr lang="en-US" sz="650" dirty="0">
                <a:solidFill>
                  <a:schemeClr val="bg1"/>
                </a:solidFill>
                <a:latin typeface="+mn-lt"/>
              </a:rPr>
              <a:t>[To edit, click View &gt; Slide Master &gt; Slide Master]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76238" y="6477000"/>
            <a:ext cx="4016375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solidFill>
                  <a:schemeClr val="bg1"/>
                </a:solidFill>
                <a:latin typeface="+mn-lt"/>
              </a:rPr>
              <a:t>© 2018. For information, contact Deloitte Czech Republic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8683FB8-D678-492C-9903-375821350388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7316480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5AB07749-9DCC-43C0-BF04-BD894389FA42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679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412642757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1220835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452487815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75359594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cs-CZ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4159381331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796243163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66F802C-6AD7-460E-9A1D-F6CA0ED45534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0088" y="1700213"/>
            <a:ext cx="2667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825" y="1700213"/>
            <a:ext cx="26701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086475" y="1700213"/>
            <a:ext cx="26876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4594479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85472740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CA73565-3E9F-424E-A170-1490924916D5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06695154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Presentation title</a:t>
            </a:r>
            <a:br>
              <a:rPr lang="en-US" sz="650" dirty="0">
                <a:latin typeface="+mn-lt"/>
              </a:rPr>
            </a:br>
            <a:r>
              <a:rPr lang="en-US" sz="650" dirty="0">
                <a:latin typeface="+mn-lt"/>
              </a:rPr>
              <a:t>[To edit, click View &gt; Slide Master &gt; Slide Master]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© 2018. For information, contact Deloitte Czech Republic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E8AC6D5-DA02-4A74-8703-B17830546B5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3303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5EA9870E-37B4-4C56-9679-41857420FC11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77825" y="1706563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668838" y="1700213"/>
            <a:ext cx="41052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77825" y="4065588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668838" y="4065588"/>
            <a:ext cx="4105275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6554001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B5233C9A-67D7-4E39-BED9-7B6977CB528C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118924520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D28D66E-E672-4A08-B157-E854CEA7EB48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012010136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 err="1">
                <a:latin typeface="+mn-lt"/>
              </a:rPr>
              <a:t>Presentation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title</a:t>
            </a:r>
            <a:br>
              <a:rPr lang="cs-CZ" sz="650" dirty="0">
                <a:latin typeface="+mn-lt"/>
              </a:rPr>
            </a:br>
            <a:r>
              <a:rPr lang="cs-CZ" sz="650" dirty="0">
                <a:latin typeface="+mn-lt"/>
              </a:rPr>
              <a:t>[To </a:t>
            </a:r>
            <a:r>
              <a:rPr lang="cs-CZ" sz="650" dirty="0" err="1">
                <a:latin typeface="+mn-lt"/>
              </a:rPr>
              <a:t>edit</a:t>
            </a:r>
            <a:r>
              <a:rPr lang="cs-CZ" sz="650" dirty="0">
                <a:latin typeface="+mn-lt"/>
              </a:rPr>
              <a:t>, </a:t>
            </a:r>
            <a:r>
              <a:rPr lang="cs-CZ" sz="650" dirty="0" err="1">
                <a:latin typeface="+mn-lt"/>
              </a:rPr>
              <a:t>click</a:t>
            </a:r>
            <a:r>
              <a:rPr lang="cs-CZ" sz="650" dirty="0">
                <a:latin typeface="+mn-lt"/>
              </a:rPr>
              <a:t> </a:t>
            </a:r>
            <a:r>
              <a:rPr lang="cs-CZ" sz="650" dirty="0" err="1">
                <a:latin typeface="+mn-lt"/>
              </a:rPr>
              <a:t>View</a:t>
            </a:r>
            <a:r>
              <a:rPr lang="cs-CZ" sz="650" dirty="0">
                <a:latin typeface="+mn-lt"/>
              </a:rPr>
              <a:t>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 &gt; </a:t>
            </a:r>
            <a:r>
              <a:rPr lang="cs-CZ" sz="650" dirty="0" err="1">
                <a:latin typeface="+mn-lt"/>
              </a:rPr>
              <a:t>Slide</a:t>
            </a:r>
            <a:r>
              <a:rPr lang="cs-CZ" sz="650" dirty="0">
                <a:latin typeface="+mn-lt"/>
              </a:rPr>
              <a:t> Master]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18 Pro více informací kontaktujte Deloitte Česká republika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B253530-60DA-4BBA-9AF7-92273194C34E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48261792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2" t="30281" r="12016" b="29289"/>
          <a:stretch>
            <a:fillRect/>
          </a:stretch>
        </p:blipFill>
        <p:spPr bwMode="auto">
          <a:xfrm>
            <a:off x="371475" y="3124200"/>
            <a:ext cx="172243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59940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>
            <a:fillRect/>
          </a:stretch>
        </p:blipFill>
        <p:spPr bwMode="auto">
          <a:xfrm>
            <a:off x="371475" y="3124200"/>
            <a:ext cx="180498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30574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53171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98865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01743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51388" y="6477000"/>
            <a:ext cx="3671887" cy="10002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 err="1">
                <a:solidFill>
                  <a:schemeClr val="bg1"/>
                </a:solidFill>
                <a:latin typeface="+mn-lt"/>
              </a:rPr>
              <a:t>Fúze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a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akvizice</a:t>
            </a:r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B8233B8-9FA3-4E81-8B20-DB786CF8072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© 2017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20807088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1141326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51388" y="6477000"/>
            <a:ext cx="3671887" cy="10002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 err="1">
                <a:solidFill>
                  <a:schemeClr val="bg1"/>
                </a:solidFill>
                <a:latin typeface="+mn-lt"/>
              </a:rPr>
              <a:t>Fúze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a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akvizice</a:t>
            </a:r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6E0312C-ADDB-4C5F-A780-D80133C23F91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© 2017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525841950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51388" y="6477000"/>
            <a:ext cx="3671887" cy="10002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 err="1">
                <a:solidFill>
                  <a:schemeClr val="bg1"/>
                </a:solidFill>
                <a:latin typeface="+mn-lt"/>
              </a:rPr>
              <a:t>Fúze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a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akvizice</a:t>
            </a:r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DBD2319-F4B2-4189-A449-4EF0403C7B27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© 2017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2975744543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426EE9F-C07A-4365-885C-EC11BE0B5723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17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45436601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751388" y="6477000"/>
            <a:ext cx="3671887" cy="10002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 err="1">
                <a:solidFill>
                  <a:schemeClr val="bg1"/>
                </a:solidFill>
                <a:latin typeface="+mn-lt"/>
              </a:rPr>
              <a:t>Fúze</a:t>
            </a:r>
            <a:r>
              <a:rPr lang="en-US" sz="650" dirty="0">
                <a:solidFill>
                  <a:schemeClr val="bg1"/>
                </a:solidFill>
                <a:latin typeface="+mn-lt"/>
              </a:rPr>
              <a:t> a </a:t>
            </a:r>
            <a:r>
              <a:rPr lang="en-US" sz="650" dirty="0" err="1">
                <a:solidFill>
                  <a:schemeClr val="bg1"/>
                </a:solidFill>
                <a:latin typeface="+mn-lt"/>
              </a:rPr>
              <a:t>akvizice</a:t>
            </a:r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8683FB8-D678-492C-9903-375821350388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© 2017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4025234950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en-US" sz="650" dirty="0">
                <a:latin typeface="+mn-lt"/>
              </a:rPr>
              <a:t>Presentation title</a:t>
            </a:r>
            <a:br>
              <a:rPr lang="en-US" sz="650" dirty="0">
                <a:latin typeface="+mn-lt"/>
              </a:rPr>
            </a:br>
            <a:r>
              <a:rPr lang="en-US" sz="650" dirty="0">
                <a:latin typeface="+mn-lt"/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E8AC6D5-DA02-4A74-8703-B17830546B5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17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17723283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82461291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87294192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87895023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25172689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961076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: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7780605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317105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DD06410-D99E-4A86-B097-07C46E184CDF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0088" y="1706563"/>
            <a:ext cx="2667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825" y="1700213"/>
            <a:ext cx="26701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086475" y="1706563"/>
            <a:ext cx="26876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20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1243530516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2925598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4F63DE4-3641-4752-8490-8FDEAB763202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24000" y="1827213"/>
            <a:ext cx="2124000" cy="969448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34533" y="1827213"/>
            <a:ext cx="2124000" cy="972000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72088324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_1_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4F63DE4-3641-4752-8490-8FDEAB763202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34533" y="1827213"/>
            <a:ext cx="2124000" cy="972000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20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4068520781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382B2C1-CF07-48F8-96F5-A9D5F4DF99E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77825" y="4065588"/>
            <a:ext cx="3780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971888" y="4028809"/>
            <a:ext cx="3780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34000" y="1827213"/>
            <a:ext cx="2145051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624000" y="1827213"/>
            <a:ext cx="2145600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29704" y="4256213"/>
            <a:ext cx="2145051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628764" y="4256213"/>
            <a:ext cx="2145600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5" name="TextBox 24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20 Pro více informací kontaktujte Deloitte Česká republika.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2" name="Picture Placeholder 2"/>
          <p:cNvSpPr>
            <a:spLocks noGrp="1" noChangeAspect="1"/>
          </p:cNvSpPr>
          <p:nvPr>
            <p:ph type="pic" sz="quarter" idx="36"/>
          </p:nvPr>
        </p:nvSpPr>
        <p:spPr>
          <a:xfrm>
            <a:off x="376236" y="4256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3" name="Picture Placeholder 2"/>
          <p:cNvSpPr>
            <a:spLocks noGrp="1" noChangeAspect="1"/>
          </p:cNvSpPr>
          <p:nvPr>
            <p:ph type="pic" sz="quarter" idx="37"/>
          </p:nvPr>
        </p:nvSpPr>
        <p:spPr>
          <a:xfrm>
            <a:off x="4972090" y="4256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4" name="Rectangle 33"/>
          <p:cNvSpPr/>
          <p:nvPr userDrawn="1"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668125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FF5BD3C-7CF3-48E9-B568-6AA9175D52D7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Box 22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20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1103060316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F4C58F5-FE9D-4B78-AE8E-5CC193A22FA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20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539646457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2A8376DF-C6A7-42D7-AEAA-B1C8127831E8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cs-CZ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cs-CZ" dirty="0"/>
          </a:p>
        </p:txBody>
      </p:sp>
      <p:sp>
        <p:nvSpPr>
          <p:cNvPr id="21" name="TextBox 20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tx1"/>
                </a:solidFill>
                <a:latin typeface="+mn-lt"/>
              </a:rPr>
              <a:t>© 2020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1634063922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2" t="30281" r="12016" b="29289"/>
          <a:stretch>
            <a:fillRect/>
          </a:stretch>
        </p:blipFill>
        <p:spPr bwMode="auto">
          <a:xfrm>
            <a:off x="371475" y="2933700"/>
            <a:ext cx="172243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08274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8899860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>
            <a:fillRect/>
          </a:stretch>
        </p:blipFill>
        <p:spPr bwMode="auto">
          <a:xfrm>
            <a:off x="371475" y="2933700"/>
            <a:ext cx="180498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3684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1564969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2904249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tags" Target="../tags/tag10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slideLayout" Target="../slideLayouts/slideLayout45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slideLayout" Target="../slideLayouts/slideLayout4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Relationship Id="rId27" Type="http://schemas.openxmlformats.org/officeDocument/2006/relationships/oleObject" Target="../embeddings/oleObject9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28" Type="http://schemas.openxmlformats.org/officeDocument/2006/relationships/oleObject" Target="../embeddings/oleObject18.bin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>
            <p:custDataLst>
              <p:tags r:id="rId2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102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Click to edit Master title style</a:t>
            </a:r>
          </a:p>
        </p:txBody>
      </p:sp>
      <p:sp>
        <p:nvSpPr>
          <p:cNvPr id="1030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 dirty="0"/>
              <a:t>Edit Master text styles</a:t>
            </a:r>
          </a:p>
          <a:p>
            <a:pPr lvl="1"/>
            <a:r>
              <a:rPr lang="en-US" altLang="cs-CZ" dirty="0"/>
              <a:t>Second level</a:t>
            </a:r>
          </a:p>
          <a:p>
            <a:pPr lvl="2"/>
            <a:r>
              <a:rPr lang="en-US" altLang="cs-CZ" dirty="0"/>
              <a:t>Third level</a:t>
            </a:r>
          </a:p>
          <a:p>
            <a:pPr lvl="3"/>
            <a:r>
              <a:rPr lang="en-US" altLang="cs-CZ" dirty="0"/>
              <a:t>Fourth level</a:t>
            </a:r>
          </a:p>
          <a:p>
            <a:pPr lvl="4"/>
            <a:r>
              <a:rPr lang="en-US" altLang="cs-CZ" dirty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78CA4D8-A0FA-4697-BFFD-797AF4E823F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21819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3" r:id="rId2"/>
    <p:sldLayoutId id="2147483796" r:id="rId3"/>
    <p:sldLayoutId id="2147483797" r:id="rId4"/>
    <p:sldLayoutId id="2147483798" r:id="rId5"/>
    <p:sldLayoutId id="2147483864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  <p:sldLayoutId id="2147483865" r:id="rId21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8000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8000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80000" algn="l" defTabSz="798513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3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205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/>
              <a:t>Click to edit Master title style</a:t>
            </a:r>
          </a:p>
        </p:txBody>
      </p:sp>
      <p:sp>
        <p:nvSpPr>
          <p:cNvPr id="2054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 dirty="0" err="1"/>
              <a:t>Click</a:t>
            </a:r>
            <a:r>
              <a:rPr lang="cs-CZ" altLang="cs-CZ" dirty="0"/>
              <a:t> to </a:t>
            </a:r>
            <a:r>
              <a:rPr lang="cs-CZ" altLang="cs-CZ" dirty="0" err="1"/>
              <a:t>edit</a:t>
            </a:r>
            <a:r>
              <a:rPr lang="cs-CZ" altLang="cs-CZ" dirty="0"/>
              <a:t> Master text </a:t>
            </a:r>
            <a:r>
              <a:rPr lang="cs-CZ" altLang="cs-CZ" dirty="0" err="1"/>
              <a:t>styles</a:t>
            </a:r>
            <a:endParaRPr lang="cs-CZ" altLang="cs-CZ" dirty="0"/>
          </a:p>
          <a:p>
            <a:pPr lvl="1"/>
            <a:r>
              <a:rPr lang="cs-CZ" altLang="cs-CZ" dirty="0"/>
              <a:t>Second </a:t>
            </a:r>
            <a:r>
              <a:rPr lang="cs-CZ" altLang="cs-CZ" dirty="0" err="1"/>
              <a:t>level</a:t>
            </a:r>
            <a:endParaRPr lang="cs-CZ" altLang="cs-CZ" dirty="0"/>
          </a:p>
          <a:p>
            <a:pPr lvl="2"/>
            <a:r>
              <a:rPr lang="cs-CZ" altLang="cs-CZ" dirty="0" err="1"/>
              <a:t>Third</a:t>
            </a:r>
            <a:r>
              <a:rPr lang="cs-CZ" altLang="cs-CZ" dirty="0"/>
              <a:t> </a:t>
            </a:r>
            <a:r>
              <a:rPr lang="cs-CZ" altLang="cs-CZ" dirty="0" err="1"/>
              <a:t>level</a:t>
            </a:r>
            <a:endParaRPr lang="cs-CZ" altLang="cs-CZ" dirty="0"/>
          </a:p>
          <a:p>
            <a:pPr lvl="3"/>
            <a:r>
              <a:rPr lang="cs-CZ" altLang="cs-CZ" dirty="0" err="1"/>
              <a:t>Fourth</a:t>
            </a:r>
            <a:r>
              <a:rPr lang="cs-CZ" altLang="cs-CZ" dirty="0"/>
              <a:t> </a:t>
            </a:r>
            <a:r>
              <a:rPr lang="cs-CZ" altLang="cs-CZ" dirty="0" err="1"/>
              <a:t>level</a:t>
            </a:r>
            <a:endParaRPr lang="cs-CZ" altLang="cs-CZ" dirty="0"/>
          </a:p>
          <a:p>
            <a:pPr lvl="4"/>
            <a:r>
              <a:rPr lang="cs-CZ" altLang="cs-CZ" dirty="0" err="1"/>
              <a:t>Fifth</a:t>
            </a:r>
            <a:r>
              <a:rPr lang="cs-CZ" altLang="cs-CZ" dirty="0"/>
              <a:t> </a:t>
            </a:r>
            <a:r>
              <a:rPr lang="cs-CZ" altLang="cs-CZ" dirty="0" err="1"/>
              <a:t>level</a:t>
            </a:r>
            <a:endParaRPr lang="cs-CZ" altLang="cs-CZ" dirty="0"/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57F65DA-840F-4037-A34E-8CB3E2C9A8DF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69980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  <p:sldLayoutId id="2147483827" r:id="rId14"/>
    <p:sldLayoutId id="2147483828" r:id="rId15"/>
    <p:sldLayoutId id="2147483829" r:id="rId16"/>
    <p:sldLayoutId id="2147483830" r:id="rId17"/>
    <p:sldLayoutId id="2147483831" r:id="rId18"/>
    <p:sldLayoutId id="2147483832" r:id="rId19"/>
    <p:sldLayoutId id="2147483833" r:id="rId20"/>
    <p:sldLayoutId id="2147483834" r:id="rId21"/>
    <p:sldLayoutId id="2147483835" r:id="rId22"/>
    <p:sldLayoutId id="2147483836" r:id="rId23"/>
    <p:sldLayoutId id="2147483837" r:id="rId24"/>
  </p:sldLayoutIdLst>
  <p:transition>
    <p:fade/>
  </p:transition>
  <p:hf hdr="0" dt="0"/>
  <p:txStyles>
    <p:titleStyle>
      <a:lvl1pPr algn="l" rtl="0" fontAlgn="base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fontAlgn="base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fontAlgn="base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80000" algn="l" rtl="0" fontAlgn="base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80000" algn="l" rtl="0" fontAlgn="base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80000" algn="l" defTabSz="798513" rtl="0" fontAlgn="base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102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Click to edit Master title styl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Fúze a akvizice</a:t>
            </a:r>
          </a:p>
        </p:txBody>
      </p:sp>
      <p:sp>
        <p:nvSpPr>
          <p:cNvPr id="1030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Edit Master text styles</a:t>
            </a:r>
          </a:p>
          <a:p>
            <a:pPr lvl="1"/>
            <a:r>
              <a:rPr lang="en-US" altLang="cs-CZ"/>
              <a:t>Second level</a:t>
            </a:r>
          </a:p>
          <a:p>
            <a:pPr lvl="2"/>
            <a:r>
              <a:rPr lang="en-US" altLang="cs-CZ"/>
              <a:t>Third level</a:t>
            </a:r>
          </a:p>
          <a:p>
            <a:pPr lvl="3"/>
            <a:r>
              <a:rPr lang="en-US" altLang="cs-CZ"/>
              <a:t>Fourth level</a:t>
            </a:r>
          </a:p>
          <a:p>
            <a:pPr lvl="4"/>
            <a:r>
              <a:rPr lang="en-US" altLang="cs-CZ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78CA4D8-A0FA-4697-BFFD-797AF4E823F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376238" y="6477000"/>
            <a:ext cx="4016375" cy="2016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latin typeface="+mn-lt"/>
              </a:rPr>
              <a:t>© 2020 Pro více informací kontaktujte Deloitte Česká republika.</a:t>
            </a:r>
          </a:p>
        </p:txBody>
      </p:sp>
    </p:spTree>
    <p:extLst>
      <p:ext uri="{BB962C8B-B14F-4D97-AF65-F5344CB8AC3E}">
        <p14:creationId xmlns:p14="http://schemas.microsoft.com/office/powerpoint/2010/main" val="2140199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  <p:sldLayoutId id="2147483850" r:id="rId12"/>
    <p:sldLayoutId id="2147483851" r:id="rId13"/>
    <p:sldLayoutId id="2147483852" r:id="rId14"/>
    <p:sldLayoutId id="2147483853" r:id="rId15"/>
    <p:sldLayoutId id="2147483854" r:id="rId16"/>
    <p:sldLayoutId id="2147483855" r:id="rId17"/>
    <p:sldLayoutId id="2147483856" r:id="rId18"/>
    <p:sldLayoutId id="2147483857" r:id="rId19"/>
    <p:sldLayoutId id="2147483858" r:id="rId20"/>
    <p:sldLayoutId id="2147483859" r:id="rId21"/>
    <p:sldLayoutId id="2147483860" r:id="rId22"/>
    <p:sldLayoutId id="2147483861" r:id="rId23"/>
    <p:sldLayoutId id="2147483862" r:id="rId24"/>
    <p:sldLayoutId id="2147483863" r:id="rId25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71450" algn="l" defTabSz="798513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justice.cz/" TargetMode="Externa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358775" y="5731243"/>
            <a:ext cx="4178299" cy="585852"/>
          </a:xfrm>
        </p:spPr>
        <p:txBody>
          <a:bodyPr/>
          <a:lstStyle/>
          <a:p>
            <a:r>
              <a:rPr lang="cs-CZ" sz="2800" dirty="0"/>
              <a:t>Fúze a akvizice (2)</a:t>
            </a:r>
          </a:p>
          <a:p>
            <a:r>
              <a:rPr lang="cs-CZ" sz="1600" b="0" dirty="0"/>
              <a:t>JUDr. Ivan </a:t>
            </a:r>
            <a:r>
              <a:rPr lang="cs-CZ" sz="1600" b="0" dirty="0" err="1"/>
              <a:t>Telecký</a:t>
            </a:r>
            <a:r>
              <a:rPr lang="cs-CZ" sz="1600" b="0" dirty="0"/>
              <a:t>, Ph.D. </a:t>
            </a:r>
          </a:p>
          <a:p>
            <a:r>
              <a:rPr lang="cs-CZ" sz="1600" b="0" dirty="0"/>
              <a:t>Mgr. Petr Suchý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8908" y="795214"/>
            <a:ext cx="4626179" cy="4406817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45B7E63-08D2-43CE-9712-1E527A0B09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82661168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Prohlášení o záměru </a:t>
            </a:r>
            <a:r>
              <a:rPr lang="en-GB" dirty="0"/>
              <a:t>/ Letter of Intent (</a:t>
            </a:r>
            <a:r>
              <a:rPr lang="en-GB" dirty="0" err="1"/>
              <a:t>LoI</a:t>
            </a:r>
            <a:r>
              <a:rPr lang="en-GB" dirty="0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Před-transakční smlouvy v akvizičních transakcích</a:t>
            </a:r>
            <a:endParaRPr lang="cs-CZ" b="1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692073648"/>
              </p:ext>
            </p:extLst>
          </p:nvPr>
        </p:nvGraphicFramePr>
        <p:xfrm>
          <a:off x="358775" y="1408855"/>
          <a:ext cx="8389225" cy="49347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37630598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Prohlášení o záměru </a:t>
            </a:r>
            <a:r>
              <a:rPr lang="en-GB" dirty="0"/>
              <a:t>/ Letter of Intent (</a:t>
            </a:r>
            <a:r>
              <a:rPr lang="en-GB" dirty="0" err="1"/>
              <a:t>LoI</a:t>
            </a:r>
            <a:r>
              <a:rPr lang="en-GB" dirty="0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Před-transakční smlouvy v akvizičních transakcích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Uzavíráno v úvodní fázi transakčního procesu zpravidla po NDA a získání prvních relevantních informací pro vyhodnocení možné transakce (po předložení informačního memoranda a manažerské prezentace, někdy až po </a:t>
            </a:r>
            <a:r>
              <a:rPr lang="cs-CZ" sz="1400" dirty="0" err="1"/>
              <a:t>due</a:t>
            </a:r>
            <a:r>
              <a:rPr lang="cs-CZ" sz="1400" dirty="0"/>
              <a:t> diligence popř. jeho prvotní fáz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Pouze v bilaterálním jednání (v aukčním procesu zpravidla nahrazeno indikativní nabídkou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Alternativní názvy:</a:t>
            </a:r>
          </a:p>
          <a:p>
            <a:pPr marL="465750" lvl="1" indent="-285750"/>
            <a:r>
              <a:rPr lang="cs-CZ" sz="1400" dirty="0"/>
              <a:t>„</a:t>
            </a:r>
            <a:r>
              <a:rPr lang="en-GB" sz="1400" dirty="0"/>
              <a:t>Memorandum of Understanding“</a:t>
            </a:r>
            <a:endParaRPr lang="cs-CZ" sz="1400" dirty="0"/>
          </a:p>
          <a:p>
            <a:pPr marL="465750" lvl="1" indent="-285750"/>
            <a:r>
              <a:rPr lang="cs-CZ" sz="1400" dirty="0"/>
              <a:t>„</a:t>
            </a:r>
            <a:r>
              <a:rPr lang="en-GB" sz="1400" dirty="0"/>
              <a:t>Term-sheet“</a:t>
            </a:r>
            <a:endParaRPr lang="cs-CZ" sz="1400" dirty="0"/>
          </a:p>
          <a:p>
            <a:pPr marL="465750" lvl="1" indent="-285750"/>
            <a:r>
              <a:rPr lang="en-GB" sz="1400" dirty="0"/>
              <a:t>„Heads of Terms</a:t>
            </a:r>
            <a:r>
              <a:rPr lang="cs-CZ" sz="1400" dirty="0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679983903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Prohlášení o záměru </a:t>
            </a:r>
            <a:r>
              <a:rPr lang="en-GB" dirty="0"/>
              <a:t>/ Letter of Intent (</a:t>
            </a:r>
            <a:r>
              <a:rPr lang="en-GB" dirty="0" err="1"/>
              <a:t>LoI</a:t>
            </a:r>
            <a:r>
              <a:rPr lang="en-GB" dirty="0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Před-transakční smlouvy v akvizičních transakcích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 err="1"/>
              <a:t>LoI</a:t>
            </a:r>
            <a:r>
              <a:rPr lang="cs-CZ" sz="1400" dirty="0"/>
              <a:t> obsahuje právně nezávazné a právně závazné části</a:t>
            </a:r>
          </a:p>
          <a:p>
            <a:pPr marL="465750" lvl="1" indent="-285750"/>
            <a:r>
              <a:rPr lang="cs-CZ" sz="1400" b="1" dirty="0"/>
              <a:t>Právně závazné:</a:t>
            </a:r>
          </a:p>
          <a:p>
            <a:pPr marL="630238" lvl="2" indent="-285750"/>
            <a:r>
              <a:rPr lang="cs-CZ" sz="1400" dirty="0"/>
              <a:t>Ujednání o mlčenlivosti (není-li samostatné NDA)</a:t>
            </a:r>
          </a:p>
          <a:p>
            <a:pPr marL="630238" lvl="2" indent="-285750"/>
            <a:r>
              <a:rPr lang="cs-CZ" sz="1400" dirty="0"/>
              <a:t>Je-li ujednáno, pak ustanovení o exkluzivitě jednání o transakci na určitou dobu a následcích jejího porušení (náhrada transakčních nákladů)</a:t>
            </a:r>
          </a:p>
          <a:p>
            <a:pPr marL="630238" lvl="2" indent="-285750"/>
            <a:r>
              <a:rPr lang="cs-CZ" sz="1400" dirty="0"/>
              <a:t>Vyloučení předsmluvní odpovědnosti (vyjma porušení exkluzivity, je-li sjednána)</a:t>
            </a:r>
          </a:p>
          <a:p>
            <a:pPr marL="630238" lvl="2" indent="-285750"/>
            <a:r>
              <a:rPr lang="cs-CZ" sz="1400" dirty="0"/>
              <a:t>Obecně každá strana nese své náklady (vyjma porušení exkluzivity, je-li sjednána)</a:t>
            </a:r>
          </a:p>
          <a:p>
            <a:pPr marL="630238" lvl="2" indent="-285750"/>
            <a:r>
              <a:rPr lang="cs-CZ" sz="1400" dirty="0"/>
              <a:t>Rozhodné právo a řešení sporů</a:t>
            </a:r>
          </a:p>
          <a:p>
            <a:pPr marL="465750" lvl="1" indent="-285750"/>
            <a:r>
              <a:rPr lang="cs-CZ" sz="1400" b="1" dirty="0"/>
              <a:t>Právně nezávazné:</a:t>
            </a:r>
          </a:p>
          <a:p>
            <a:pPr marL="630238" lvl="2" indent="-285750"/>
            <a:r>
              <a:rPr lang="cs-CZ" sz="1400" dirty="0"/>
              <a:t>Obchodní, finanční a právní podmínky transakce, zejm.:</a:t>
            </a:r>
          </a:p>
          <a:p>
            <a:pPr marL="976313" lvl="4" indent="-285750"/>
            <a:r>
              <a:rPr lang="cs-CZ" sz="1400" dirty="0"/>
              <a:t>struktura transakce (např. </a:t>
            </a:r>
            <a:r>
              <a:rPr lang="cs-CZ" sz="1400" dirty="0" err="1"/>
              <a:t>share</a:t>
            </a:r>
            <a:r>
              <a:rPr lang="cs-CZ" sz="1400" dirty="0"/>
              <a:t> </a:t>
            </a:r>
            <a:r>
              <a:rPr lang="cs-CZ" sz="1400" dirty="0" err="1"/>
              <a:t>deal</a:t>
            </a:r>
            <a:r>
              <a:rPr lang="cs-CZ" sz="1400" dirty="0"/>
              <a:t> / </a:t>
            </a:r>
            <a:r>
              <a:rPr lang="cs-CZ" sz="1400" dirty="0" err="1"/>
              <a:t>asset</a:t>
            </a:r>
            <a:r>
              <a:rPr lang="cs-CZ" sz="1400" dirty="0"/>
              <a:t> </a:t>
            </a:r>
            <a:r>
              <a:rPr lang="cs-CZ" sz="1400" dirty="0" err="1"/>
              <a:t>deal</a:t>
            </a:r>
            <a:r>
              <a:rPr lang="cs-CZ" sz="1400" dirty="0"/>
              <a:t>) a perimetr (části vyloučené z transakce)</a:t>
            </a:r>
          </a:p>
          <a:p>
            <a:pPr marL="976313" lvl="4" indent="-285750"/>
            <a:r>
              <a:rPr lang="cs-CZ" sz="1400" dirty="0"/>
              <a:t>předpokládaná kupní cena (nebo rozpětí příp. principy určení)</a:t>
            </a:r>
          </a:p>
          <a:p>
            <a:pPr marL="630238" lvl="2" indent="-285750"/>
            <a:r>
              <a:rPr lang="cs-CZ" sz="1400" dirty="0"/>
              <a:t>Další milníky transakčního procesu a jejich lhůty</a:t>
            </a:r>
          </a:p>
          <a:p>
            <a:pPr marL="630238" lvl="2" indent="-285750"/>
            <a:endParaRPr lang="cs-CZ" sz="1400" dirty="0"/>
          </a:p>
          <a:p>
            <a:pPr marL="630238" lvl="2" indent="-285750"/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43794207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Obchodní společnost jako objekt akvizičních transakcí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76238" y="3429000"/>
            <a:ext cx="7905750" cy="1566532"/>
          </a:xfrm>
        </p:spPr>
        <p:txBody>
          <a:bodyPr/>
          <a:lstStyle/>
          <a:p>
            <a:endParaRPr lang="cs-CZ" sz="3200" dirty="0">
              <a:ea typeface="Verdana"/>
              <a:cs typeface="Verdana"/>
            </a:endParaRPr>
          </a:p>
          <a:p>
            <a:endParaRPr lang="it-IT" sz="3200" dirty="0"/>
          </a:p>
        </p:txBody>
      </p:sp>
    </p:spTree>
    <p:extLst>
      <p:ext uri="{BB962C8B-B14F-4D97-AF65-F5344CB8AC3E}">
        <p14:creationId xmlns:p14="http://schemas.microsoft.com/office/powerpoint/2010/main" val="122336692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ea typeface="+mn-lt"/>
                <a:cs typeface="+mn-lt"/>
              </a:rPr>
              <a:t>Asset Deal </a:t>
            </a:r>
            <a:r>
              <a:rPr lang="cs-CZ" dirty="0">
                <a:ea typeface="+mn-lt"/>
                <a:cs typeface="+mn-lt"/>
              </a:rPr>
              <a:t>– prodej/koupě obchodního závodu</a:t>
            </a:r>
            <a:endParaRPr lang="en-US" dirty="0">
              <a:ea typeface="+mn-lt"/>
              <a:cs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Obchodní společnost - objekt akvizičních transakcí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§ 2175 a násl. OZ.</a:t>
            </a:r>
            <a:endParaRPr lang="en-US" sz="1100">
              <a:ea typeface="Verdana"/>
              <a:cs typeface="Verdana"/>
            </a:endParaRPr>
          </a:p>
          <a:p>
            <a:pPr marL="285750" indent="-2857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Kupující nabývá vše, co k závodu jako celku náleží. O koupi závodu se jedná i v případě, že strany z koupě jednotlivou položku vyloučí, aniž tím celek ztratí vlastnost závodu.</a:t>
            </a:r>
            <a:endParaRPr lang="cs-CZ" sz="1100" dirty="0">
              <a:ea typeface="Verdana"/>
              <a:cs typeface="Verdana"/>
            </a:endParaRPr>
          </a:p>
          <a:p>
            <a:pPr marL="285750" indent="-2857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Považuje se za převod činnosti zaměstnavatele. - § 338 a násl. zákoníku práce (!) – TUPE / </a:t>
            </a:r>
            <a:r>
              <a:rPr lang="en-GB" sz="1100" dirty="0">
                <a:ea typeface="+mn-lt"/>
                <a:cs typeface="+mn-lt"/>
              </a:rPr>
              <a:t>Transfer of Undertakings (Protection of Employment</a:t>
            </a:r>
            <a:r>
              <a:rPr lang="cs-CZ" sz="1100" dirty="0">
                <a:ea typeface="+mn-lt"/>
                <a:cs typeface="+mn-lt"/>
              </a:rPr>
              <a:t>) </a:t>
            </a:r>
            <a:r>
              <a:rPr lang="en-GB" sz="1100" dirty="0">
                <a:ea typeface="+mn-lt"/>
                <a:cs typeface="+mn-lt"/>
              </a:rPr>
              <a:t>Legislation.</a:t>
            </a:r>
            <a:endParaRPr lang="cs-CZ" sz="1100" dirty="0">
              <a:ea typeface="Verdana"/>
              <a:cs typeface="Verdana"/>
            </a:endParaRPr>
          </a:p>
          <a:p>
            <a:pPr marL="285750" indent="-2857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Domněnka sjednání ceny dle stavu jmění ke dni uzavření, při pozdějším nabytí účinnosti úprava ceny (§ 2176 OZ) – tzv. „</a:t>
            </a:r>
            <a:r>
              <a:rPr lang="en-GB" sz="1100" dirty="0">
                <a:ea typeface="+mn-lt"/>
                <a:cs typeface="+mn-lt"/>
              </a:rPr>
              <a:t>closing accounts</a:t>
            </a:r>
            <a:r>
              <a:rPr lang="cs-CZ" sz="1100" dirty="0">
                <a:ea typeface="+mn-lt"/>
                <a:cs typeface="+mn-lt"/>
              </a:rPr>
              <a:t>“.</a:t>
            </a:r>
            <a:endParaRPr lang="cs-CZ" sz="1100" dirty="0">
              <a:ea typeface="Verdana"/>
              <a:cs typeface="Verdana"/>
            </a:endParaRPr>
          </a:p>
          <a:p>
            <a:pPr marL="285750" indent="-2857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Kupující vstupuje jako věřitel do pohledávek a jako dlužník do dluhů (o nichž věděl nebo musel rozumně předpokládat).</a:t>
            </a:r>
            <a:endParaRPr lang="cs-CZ" sz="1100" dirty="0">
              <a:ea typeface="Verdana"/>
              <a:cs typeface="Verdana"/>
            </a:endParaRPr>
          </a:p>
          <a:p>
            <a:pPr marL="285750" indent="-2857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Neudělil-li věřitel souhlas k převzetí dluhu kupujícím, ručí prodávající za splnění dluhu.</a:t>
            </a:r>
            <a:endParaRPr lang="cs-CZ" sz="1100" dirty="0">
              <a:ea typeface="Verdana"/>
              <a:cs typeface="Verdana"/>
            </a:endParaRPr>
          </a:p>
          <a:p>
            <a:pPr marL="285750" indent="-2857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Převod IP nevylučuje-li (licenční) smlouva či povaha práva.</a:t>
            </a:r>
            <a:endParaRPr lang="cs-CZ" sz="1100" dirty="0">
              <a:ea typeface="Verdana"/>
              <a:cs typeface="Verdana"/>
            </a:endParaRPr>
          </a:p>
          <a:p>
            <a:pPr marL="285750" indent="-2857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„</a:t>
            </a:r>
            <a:r>
              <a:rPr lang="en-GB" sz="1100" dirty="0">
                <a:ea typeface="+mn-lt"/>
                <a:cs typeface="+mn-lt"/>
              </a:rPr>
              <a:t>Closing</a:t>
            </a:r>
            <a:r>
              <a:rPr lang="cs-CZ" sz="1100" dirty="0">
                <a:ea typeface="+mn-lt"/>
                <a:cs typeface="+mn-lt"/>
              </a:rPr>
              <a:t>“ – předání závodu – „inventura“, upozornění na vady, chybějící věci.</a:t>
            </a:r>
            <a:endParaRPr lang="cs-CZ" sz="1100" dirty="0">
              <a:ea typeface="Verdana"/>
              <a:cs typeface="Verdana"/>
            </a:endParaRPr>
          </a:p>
          <a:p>
            <a:pPr marL="285750" indent="-2857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Právo věřitele při zhoršení dobytnosti pohledávky domáhat se soudního rozhodnutí, že prodej závodu je vůči němu neúčinný (uplatnit v </a:t>
            </a:r>
            <a:r>
              <a:rPr lang="cs-CZ" sz="1100" dirty="0" err="1">
                <a:ea typeface="+mn-lt"/>
                <a:cs typeface="+mn-lt"/>
              </a:rPr>
              <a:t>subj</a:t>
            </a:r>
            <a:r>
              <a:rPr lang="cs-CZ" sz="1100" dirty="0">
                <a:ea typeface="+mn-lt"/>
                <a:cs typeface="+mn-lt"/>
              </a:rPr>
              <a:t>. lhůtě 1 </a:t>
            </a:r>
            <a:r>
              <a:rPr lang="cs-CZ" sz="1100" dirty="0" err="1">
                <a:ea typeface="+mn-lt"/>
                <a:cs typeface="+mn-lt"/>
              </a:rPr>
              <a:t>měs</a:t>
            </a:r>
            <a:r>
              <a:rPr lang="cs-CZ" sz="1100" dirty="0">
                <a:ea typeface="+mn-lt"/>
                <a:cs typeface="+mn-lt"/>
              </a:rPr>
              <a:t>. / </a:t>
            </a:r>
            <a:r>
              <a:rPr lang="cs-CZ" sz="1100" dirty="0" err="1">
                <a:ea typeface="+mn-lt"/>
                <a:cs typeface="+mn-lt"/>
              </a:rPr>
              <a:t>obj</a:t>
            </a:r>
            <a:r>
              <a:rPr lang="cs-CZ" sz="1100" dirty="0">
                <a:ea typeface="+mn-lt"/>
                <a:cs typeface="+mn-lt"/>
              </a:rPr>
              <a:t>. lhůtě 3 let od účinnosti smlouvy (§ 2181 OZ).</a:t>
            </a:r>
            <a:endParaRPr lang="cs-CZ" sz="1100" dirty="0">
              <a:ea typeface="Verdana"/>
              <a:cs typeface="Verdana"/>
            </a:endParaRPr>
          </a:p>
          <a:p>
            <a:pPr marL="285750" indent="-2857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Nabytí vlastnického práva k závodu jako celku (včetně nemovitostí) obecně účinností smlouvy, ale u osob zapsaných ve veřejném rejstříku až zveřejněním údaje, že kupující uložil doklad o koupi závodu do sbírky listin:</a:t>
            </a:r>
          </a:p>
          <a:p>
            <a:pPr marL="465455" lvl="1" indent="-2857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různé výklady (</a:t>
            </a:r>
            <a:r>
              <a:rPr lang="cs-CZ" sz="1100" dirty="0">
                <a:ea typeface="+mn-lt"/>
                <a:cs typeface="+mn-lt"/>
                <a:hlinkClick r:id="rId2"/>
              </a:rPr>
              <a:t>www.justice.cz</a:t>
            </a:r>
            <a:r>
              <a:rPr lang="cs-CZ" sz="1100" dirty="0">
                <a:ea typeface="+mn-lt"/>
                <a:cs typeface="+mn-lt"/>
              </a:rPr>
              <a:t> nebo až Obchodní věstník);</a:t>
            </a:r>
          </a:p>
          <a:p>
            <a:pPr marL="465455" lvl="1" indent="-2857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nejistota data nabytí vlastnictví – praktické řešení buď notářský zápis o převzetí závodu, nebo uložení a objednání oznámení v OV iniciativně kupujícím.</a:t>
            </a:r>
            <a:endParaRPr lang="cs-CZ" sz="1100" dirty="0">
              <a:ea typeface="Verdana"/>
              <a:cs typeface="Verdana"/>
            </a:endParaRPr>
          </a:p>
          <a:p>
            <a:endParaRPr lang="cs-CZ" sz="1100" dirty="0"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857962838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ea typeface="+mn-lt"/>
                <a:cs typeface="+mn-lt"/>
              </a:rPr>
              <a:t>Share Deal </a:t>
            </a:r>
            <a:r>
              <a:rPr lang="cs-CZ" dirty="0">
                <a:ea typeface="+mn-lt"/>
                <a:cs typeface="+mn-lt"/>
              </a:rPr>
              <a:t>– prodej/koupě podílu ve společnosti s ručením omezeným</a:t>
            </a:r>
            <a:endParaRPr lang="en-US" dirty="0">
              <a:ea typeface="+mn-lt"/>
              <a:cs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Obchodní společnost - objekt akvizičních transakcí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buChar char="•"/>
            </a:pPr>
            <a:r>
              <a:rPr lang="cs-CZ" sz="1100" dirty="0">
                <a:ea typeface="+mn-lt"/>
                <a:cs typeface="+mn-lt"/>
              </a:rPr>
              <a:t>Podíl je dle OZ nehmotnou movitou věcí (dříve 40/1964 a 513/1991 byl podíl „jiná majetková hodnota“):</a:t>
            </a:r>
            <a:endParaRPr lang="en-US" sz="1100" dirty="0">
              <a:ea typeface="+mn-lt"/>
              <a:cs typeface="+mn-lt"/>
            </a:endParaRPr>
          </a:p>
          <a:p>
            <a:pPr marL="344170" lvl="2" indent="-179705"/>
            <a:r>
              <a:rPr lang="cs-CZ" sz="1100" dirty="0">
                <a:ea typeface="+mn-lt"/>
                <a:cs typeface="+mn-lt"/>
              </a:rPr>
              <a:t>Věc v právním smyslu (dále jen „věc“) je vše, co je rozdílné od osoby a slouží potřebě lidí (§ 489 OZ);</a:t>
            </a:r>
            <a:endParaRPr lang="en-GB" sz="1100" dirty="0">
              <a:ea typeface="+mn-lt"/>
              <a:cs typeface="+mn-lt"/>
            </a:endParaRPr>
          </a:p>
          <a:p>
            <a:pPr marL="344170" lvl="2" indent="-179705"/>
            <a:r>
              <a:rPr lang="cs-CZ" sz="1100" dirty="0">
                <a:ea typeface="+mn-lt"/>
                <a:cs typeface="+mn-lt"/>
              </a:rPr>
              <a:t>Nehmotné věci jsou práva, jejichž povaha to připouští, a jiné věci bez hmotné podstaty (§ 496/2 OZ);</a:t>
            </a:r>
          </a:p>
          <a:p>
            <a:pPr marL="344170" lvl="2" indent="-179705"/>
            <a:r>
              <a:rPr lang="cs-CZ" sz="1100" dirty="0">
                <a:ea typeface="+mn-lt"/>
                <a:cs typeface="+mn-lt"/>
              </a:rPr>
              <a:t>Veškeré další (kromě nemovitých) věci, ať je jejich podstata hmotná nebo nehmotná, jsou movité § 498/2 OZ).</a:t>
            </a:r>
          </a:p>
          <a:p>
            <a:pPr marL="171450" indent="-1714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Tituly převodu: </a:t>
            </a:r>
            <a:r>
              <a:rPr lang="cs-CZ" sz="1100" u="sng" dirty="0">
                <a:ea typeface="+mn-lt"/>
                <a:cs typeface="+mn-lt"/>
              </a:rPr>
              <a:t>kupní smlouva</a:t>
            </a:r>
            <a:r>
              <a:rPr lang="cs-CZ" sz="1100" dirty="0">
                <a:ea typeface="+mn-lt"/>
                <a:cs typeface="+mn-lt"/>
              </a:rPr>
              <a:t>, smlouva o vkladu, darovací smlouva.</a:t>
            </a:r>
          </a:p>
          <a:p>
            <a:pPr marL="171450" indent="-1714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Forma smlouvy: písemná a ověřené podpisy.</a:t>
            </a:r>
          </a:p>
          <a:p>
            <a:pPr marL="171450" indent="-1714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Převod mezi společníky – obecně nepodmíněný, ledaže podmíní ZPJ (zakladatelské právní jednání – společenská smlouva/zakladatelská listina) – odkládací podmínka účinnosti smlouvy, max. 6 měs. „long-stop“.</a:t>
            </a:r>
          </a:p>
          <a:p>
            <a:pPr marL="171450" indent="-1714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Převod mimo společníky – obecně jen se souhlasem VH (odkládací podmínka účinnosti smlouvy, max. 6 měs. „long-stop“).</a:t>
            </a:r>
          </a:p>
          <a:p>
            <a:pPr marL="171450" indent="-1714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Účinky mezi stranami buď podpisem (popř. souhlasem VH) nebo splněním jiných odkládacích podmínek. </a:t>
            </a:r>
          </a:p>
          <a:p>
            <a:pPr marL="171450" indent="-1714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Zápis do OR – deklaratorní.</a:t>
            </a:r>
          </a:p>
          <a:p>
            <a:pPr marL="171450" indent="-1714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Účinky vůči společnosti – doručením účinné smlouvy.</a:t>
            </a:r>
          </a:p>
          <a:p>
            <a:pPr marL="171450" indent="-1714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Nabytím podílu přistupuje nabyvatel ke společenské smlouvě společnosti. Převodce ručí společnosti za dluhy, které byly s podílem na nabyvatele převedeny (§ 209 ZOK).</a:t>
            </a:r>
          </a:p>
          <a:p>
            <a:pPr marL="171450" indent="-171450">
              <a:buFont typeface="Arial"/>
              <a:buChar char="•"/>
            </a:pPr>
            <a:r>
              <a:rPr lang="cs-CZ" sz="1100" dirty="0">
                <a:ea typeface="+mn-lt"/>
                <a:cs typeface="+mn-lt"/>
              </a:rPr>
              <a:t>Převod kmenového listu – rubopis s jednoznačnou identifikací nabyvatele a oznámení změny osoby společníka a předložení kmenového listu společnosti.</a:t>
            </a:r>
          </a:p>
          <a:p>
            <a:pPr marL="285750" indent="-285750">
              <a:buFont typeface="Arial"/>
              <a:buChar char="•"/>
            </a:pPr>
            <a:endParaRPr lang="cs-CZ" sz="1100" dirty="0">
              <a:ea typeface="+mn-lt"/>
              <a:cs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25456477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ea typeface="+mn-lt"/>
                <a:cs typeface="+mn-lt"/>
              </a:rPr>
              <a:t>Share Deal </a:t>
            </a:r>
            <a:r>
              <a:rPr lang="cs-CZ" dirty="0">
                <a:ea typeface="+mn-lt"/>
                <a:cs typeface="+mn-lt"/>
              </a:rPr>
              <a:t>– prodej/koupě podílu ve společnosti s ručením omezeným</a:t>
            </a:r>
            <a:endParaRPr lang="en-US" dirty="0">
              <a:ea typeface="+mn-lt"/>
              <a:cs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Obchodní společnost - objekt akvizičních transakcí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1100" b="1" dirty="0" err="1">
                <a:ea typeface="+mn-lt"/>
                <a:cs typeface="+mn-lt"/>
              </a:rPr>
              <a:t>Cpjn</a:t>
            </a:r>
            <a:r>
              <a:rPr lang="cs-CZ" sz="1100" b="1" dirty="0">
                <a:ea typeface="+mn-lt"/>
                <a:cs typeface="+mn-lt"/>
              </a:rPr>
              <a:t> 204/2015  Stanovisko občanskoprávního a obchodního kolegia Nejvyššího soudu ze dne 13. ledna 2016 k některým otázkám zápisů obchodních korporací do obchodního rejstříku.</a:t>
            </a:r>
            <a:r>
              <a:rPr lang="cs-CZ" sz="1100" dirty="0">
                <a:ea typeface="+mn-lt"/>
                <a:cs typeface="+mn-lt"/>
              </a:rPr>
              <a:t> </a:t>
            </a:r>
            <a:endParaRPr lang="en-US" dirty="0">
              <a:ea typeface="Verdana"/>
              <a:cs typeface="Verdana"/>
            </a:endParaRPr>
          </a:p>
          <a:p>
            <a:r>
              <a:rPr lang="cs-CZ" sz="1100" i="1" dirty="0">
                <a:ea typeface="+mn-lt"/>
                <a:cs typeface="+mn-lt"/>
              </a:rPr>
              <a:t>Vrchní soud v Olomouci usnesením ze dne 5. května 2015, </a:t>
            </a:r>
            <a:r>
              <a:rPr lang="cs-CZ" sz="1100" i="1" dirty="0" err="1">
                <a:ea typeface="+mn-lt"/>
                <a:cs typeface="+mn-lt"/>
              </a:rPr>
              <a:t>sp</a:t>
            </a:r>
            <a:r>
              <a:rPr lang="cs-CZ" sz="1100" i="1" dirty="0">
                <a:ea typeface="+mn-lt"/>
                <a:cs typeface="+mn-lt"/>
              </a:rPr>
              <a:t>. zn. 8 </a:t>
            </a:r>
            <a:r>
              <a:rPr lang="cs-CZ" sz="1100" i="1" dirty="0" err="1">
                <a:ea typeface="+mn-lt"/>
                <a:cs typeface="+mn-lt"/>
              </a:rPr>
              <a:t>Cmo</a:t>
            </a:r>
            <a:r>
              <a:rPr lang="cs-CZ" sz="1100" i="1" dirty="0">
                <a:ea typeface="+mn-lt"/>
                <a:cs typeface="+mn-lt"/>
              </a:rPr>
              <a:t> 114/2015, (mimo jiné) změnil usnesení Krajského soudu v Brně ze dne 18. března 2015, č. j. C 67918/RD37/KSBR, </a:t>
            </a:r>
            <a:r>
              <a:rPr lang="cs-CZ" sz="1100" i="1" dirty="0" err="1">
                <a:ea typeface="+mn-lt"/>
                <a:cs typeface="+mn-lt"/>
              </a:rPr>
              <a:t>Fj</a:t>
            </a:r>
            <a:r>
              <a:rPr lang="cs-CZ" sz="1100" i="1" dirty="0">
                <a:ea typeface="+mn-lt"/>
                <a:cs typeface="+mn-lt"/>
              </a:rPr>
              <a:t> 11194/2015, tak, že se vymazávají údaje o dosavadním společníku a zapisují údaje o společníku novém, shledávaje nesprávným právní názor soudu prvního stupně, podle kterého </a:t>
            </a:r>
            <a:r>
              <a:rPr lang="cs-CZ" sz="1100" b="1" i="1" u="sng" dirty="0">
                <a:ea typeface="+mn-lt"/>
                <a:cs typeface="+mn-lt"/>
              </a:rPr>
              <a:t>rozhodnutí jediného společníka </a:t>
            </a:r>
            <a:r>
              <a:rPr lang="cs-CZ" sz="1100" i="1" dirty="0">
                <a:ea typeface="+mn-lt"/>
                <a:cs typeface="+mn-lt"/>
              </a:rPr>
              <a:t>společnosti v působnosti valné hromady, jímž rozhodl </a:t>
            </a:r>
            <a:r>
              <a:rPr lang="cs-CZ" sz="1100" b="1" i="1" u="sng" dirty="0">
                <a:ea typeface="+mn-lt"/>
                <a:cs typeface="+mn-lt"/>
              </a:rPr>
              <a:t>o rozdělení svého podílu a převodu jeho části</a:t>
            </a:r>
            <a:r>
              <a:rPr lang="cs-CZ" sz="1100" i="1" dirty="0">
                <a:ea typeface="+mn-lt"/>
                <a:cs typeface="+mn-lt"/>
              </a:rPr>
              <a:t>, musí mít formu notářského zápisu . Odvolací soud uzavřel, že </a:t>
            </a:r>
            <a:r>
              <a:rPr lang="cs-CZ" sz="1100" b="1" i="1" u="sng" dirty="0">
                <a:ea typeface="+mn-lt"/>
                <a:cs typeface="+mn-lt"/>
              </a:rPr>
              <a:t>nejde o rozhodnutí o změně společenské smlouvy</a:t>
            </a:r>
            <a:r>
              <a:rPr lang="cs-CZ" sz="1100" i="1" dirty="0">
                <a:ea typeface="+mn-lt"/>
                <a:cs typeface="+mn-lt"/>
              </a:rPr>
              <a:t> a zákon o obchodních korporacích (na rozdíl od § 141 odst. 1 obch. zák.) pro ně již </a:t>
            </a:r>
            <a:r>
              <a:rPr lang="cs-CZ" sz="1100" b="1" i="1" u="sng" dirty="0">
                <a:ea typeface="+mn-lt"/>
                <a:cs typeface="+mn-lt"/>
              </a:rPr>
              <a:t>formu veřejné listiny nepředepisuje</a:t>
            </a:r>
            <a:r>
              <a:rPr lang="cs-CZ" sz="1100" i="1" dirty="0">
                <a:ea typeface="+mn-lt"/>
                <a:cs typeface="+mn-lt"/>
              </a:rPr>
              <a:t>.</a:t>
            </a:r>
            <a:r>
              <a:rPr lang="cs-CZ" sz="1100" dirty="0">
                <a:ea typeface="+mn-lt"/>
                <a:cs typeface="+mn-lt"/>
              </a:rPr>
              <a:t> </a:t>
            </a:r>
            <a:endParaRPr lang="cs-CZ" dirty="0">
              <a:ea typeface="Verdana"/>
              <a:cs typeface="Verdana"/>
            </a:endParaRPr>
          </a:p>
          <a:p>
            <a:r>
              <a:rPr lang="cs-CZ" sz="1100" b="1" i="1" u="sng" dirty="0">
                <a:ea typeface="+mn-lt"/>
                <a:cs typeface="+mn-lt"/>
              </a:rPr>
              <a:t>Usnesení valné hromady o souhlasu s převodem podílu </a:t>
            </a:r>
            <a:r>
              <a:rPr lang="cs-CZ" sz="1100" i="1" dirty="0">
                <a:ea typeface="+mn-lt"/>
                <a:cs typeface="+mn-lt"/>
              </a:rPr>
              <a:t>podle § 208 odst. 1 z. o. k. však </a:t>
            </a:r>
            <a:r>
              <a:rPr lang="cs-CZ" sz="1100" b="1" i="1" u="sng" dirty="0">
                <a:ea typeface="+mn-lt"/>
                <a:cs typeface="+mn-lt"/>
              </a:rPr>
              <a:t>není rozhodnutím, v jehož důsledku dochází ke změně společenské smlouvy </a:t>
            </a:r>
            <a:r>
              <a:rPr lang="cs-CZ" sz="1100" i="1" dirty="0">
                <a:ea typeface="+mn-lt"/>
                <a:cs typeface="+mn-lt"/>
              </a:rPr>
              <a:t>v osobách společníků ve smyslu § 171 odst. 1 písm. b) z. o. k. (ani jiným rozhodnutím vyjmenovaným v § 171 odst. 1 z. o. k.). Valná hromada toliko rozhoduje o tom, zda souhlasí s tím, aby k takové změně došlo na základě smlouvy o převodu podílu. Jinými slovy právním jednáním, v jehož důsledku se mění společenská smlouva v okruhu společníků, je smlouva o převodu podílu; usnesení valné hromady je pouze fakultativní podmínkou její účinnosti. Souhlas valné hromady není ani právní skutečností, jejíž účinek nastává až zápisem do obchodního rejstříku ve smyslu § 172 odst. 1 z. o. k.; do obchodního rejstříku se ostatně nezapisuje udělení souhlasu, ale (a to pouze s deklaratorními účinky) změna v osobě společníka. Z uvedeného plyne, že usnesení valné hromady podle § 208 odst. 1 z. o. k. není rozhodnutím, které se povinně osvědčuje veřejnou listinou podle § 172 odst. 1 z. o. k..</a:t>
            </a:r>
            <a:r>
              <a:rPr lang="cs-CZ" sz="1100" dirty="0">
                <a:ea typeface="+mn-lt"/>
                <a:cs typeface="+mn-lt"/>
              </a:rPr>
              <a:t> </a:t>
            </a:r>
            <a:endParaRPr lang="cs-CZ" dirty="0">
              <a:ea typeface="Verdana"/>
              <a:cs typeface="Verdana"/>
            </a:endParaRPr>
          </a:p>
          <a:p>
            <a:r>
              <a:rPr lang="cs-CZ" sz="1100" b="1" i="1" u="sng" dirty="0">
                <a:ea typeface="+mn-lt"/>
                <a:cs typeface="+mn-lt"/>
              </a:rPr>
              <a:t>Má-li společnost jediného společníka, není nutné, aby tento společník udělil souhlas s převodem svého podílu postupem podle § 12 odst. 1 z. o. k., tedy přijal rozhodnutí jediného společníka v působnosti valné hromady. Požadovat udělení souhlasu jediného společníka s tím, že může (svým právním jednáním) převést podíl, nedává smysl (§ 2 odst. 2 část věty za středníkem o. z.); převádí-li jediný společník svůj podíl, pak s jeho převodem </a:t>
            </a:r>
            <a:r>
              <a:rPr lang="cs-CZ" sz="1100" b="1" i="1" u="sng" dirty="0" err="1">
                <a:ea typeface="+mn-lt"/>
                <a:cs typeface="+mn-lt"/>
              </a:rPr>
              <a:t>ipso</a:t>
            </a:r>
            <a:r>
              <a:rPr lang="cs-CZ" sz="1100" b="1" i="1" u="sng" dirty="0">
                <a:ea typeface="+mn-lt"/>
                <a:cs typeface="+mn-lt"/>
              </a:rPr>
              <a:t> facto souhlasí.</a:t>
            </a:r>
            <a:r>
              <a:rPr lang="cs-CZ" sz="1100" b="1" u="sng" dirty="0">
                <a:ea typeface="+mn-lt"/>
                <a:cs typeface="+mn-lt"/>
              </a:rPr>
              <a:t> </a:t>
            </a:r>
          </a:p>
          <a:p>
            <a:r>
              <a:rPr lang="cs-CZ" sz="1100" i="1" dirty="0">
                <a:ea typeface="+mn-lt"/>
                <a:cs typeface="+mn-lt"/>
              </a:rPr>
              <a:t>Zbývá dodat, že shora popsané závěry se obdobně uplatní i v případě usnesení valné hromady o souhlasu s převodem podílu na jiného společníka (§ 207 z. o. k.) nebo se zastavením podílu (§ 32 odst. 3 z. o. k., § 1320 odst. 1 o. z.)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17047179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ea typeface="+mn-lt"/>
                <a:cs typeface="+mn-lt"/>
              </a:rPr>
              <a:t>Share Deal </a:t>
            </a:r>
            <a:r>
              <a:rPr lang="cs-CZ" dirty="0">
                <a:ea typeface="+mn-lt"/>
                <a:cs typeface="+mn-lt"/>
              </a:rPr>
              <a:t>– prodej/koupě akcií akciové společnosti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Obchodní společnost - objekt akvizičních transakcí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buChar char="•"/>
            </a:pPr>
            <a:r>
              <a:rPr lang="cs-CZ" sz="1100" dirty="0">
                <a:ea typeface="+mn-lt"/>
                <a:cs typeface="+mn-lt"/>
              </a:rPr>
              <a:t>Akcie = cenný papír (věc movitá).</a:t>
            </a:r>
            <a:endParaRPr lang="en-US" dirty="0">
              <a:ea typeface="Verdana"/>
              <a:cs typeface="Verdana"/>
            </a:endParaRPr>
          </a:p>
          <a:p>
            <a:pPr marL="171450" indent="-171450">
              <a:buChar char="•"/>
            </a:pPr>
            <a:r>
              <a:rPr lang="cs-CZ" sz="1100" dirty="0">
                <a:ea typeface="+mn-lt"/>
                <a:cs typeface="+mn-lt"/>
              </a:rPr>
              <a:t>Tituly převodu: </a:t>
            </a:r>
            <a:r>
              <a:rPr lang="cs-CZ" sz="1100" u="sng" dirty="0">
                <a:ea typeface="+mn-lt"/>
                <a:cs typeface="+mn-lt"/>
              </a:rPr>
              <a:t>kupní smlouva</a:t>
            </a:r>
            <a:r>
              <a:rPr lang="cs-CZ" sz="1100" dirty="0">
                <a:ea typeface="+mn-lt"/>
                <a:cs typeface="+mn-lt"/>
              </a:rPr>
              <a:t>, smlouva o vkladu, darovací smlouva.</a:t>
            </a:r>
            <a:endParaRPr lang="cs-CZ" dirty="0">
              <a:ea typeface="+mn-lt"/>
              <a:cs typeface="+mn-lt"/>
            </a:endParaRPr>
          </a:p>
          <a:p>
            <a:pPr marL="171450" indent="-171450">
              <a:buChar char="•"/>
            </a:pPr>
            <a:r>
              <a:rPr lang="cs-CZ" sz="1100" dirty="0">
                <a:ea typeface="+mn-lt"/>
                <a:cs typeface="+mn-lt"/>
              </a:rPr>
              <a:t>Nabytí vlastnictví k CP dle OZ: </a:t>
            </a:r>
            <a:endParaRPr lang="cs-CZ">
              <a:ea typeface="Verdana"/>
              <a:cs typeface="Verdana"/>
            </a:endParaRPr>
          </a:p>
          <a:p>
            <a:pPr marL="344170" lvl="2" indent="-179705"/>
            <a:r>
              <a:rPr lang="cs-CZ" sz="1100">
                <a:ea typeface="+mn-lt"/>
                <a:cs typeface="+mn-lt"/>
              </a:rPr>
              <a:t>na doručitele (akcie na majitele) smlouvou k okamžiku předání;</a:t>
            </a:r>
            <a:endParaRPr lang="cs-CZ">
              <a:ea typeface="Verdana"/>
              <a:cs typeface="Verdana"/>
            </a:endParaRPr>
          </a:p>
          <a:p>
            <a:pPr marL="344170" lvl="2" indent="-179705"/>
            <a:r>
              <a:rPr lang="cs-CZ" sz="1100">
                <a:ea typeface="+mn-lt"/>
                <a:cs typeface="+mn-lt"/>
              </a:rPr>
              <a:t>na řad (akcie na jméno) rubopisem (zákon 191/1950 Sb. + jednoznačná identifikace nabyvatele) a smlouvou k okamžiku předání;</a:t>
            </a:r>
            <a:endParaRPr lang="cs-CZ">
              <a:ea typeface="Verdana"/>
              <a:cs typeface="Verdana"/>
            </a:endParaRPr>
          </a:p>
          <a:p>
            <a:pPr marL="344170" lvl="2" indent="-179705"/>
            <a:r>
              <a:rPr lang="cs-CZ" sz="1100">
                <a:ea typeface="+mn-lt"/>
                <a:cs typeface="+mn-lt"/>
              </a:rPr>
              <a:t>zaknihovaný zápisem na účet vlastníka.</a:t>
            </a:r>
            <a:endParaRPr lang="cs-CZ">
              <a:ea typeface="+mn-lt"/>
              <a:cs typeface="+mn-lt"/>
            </a:endParaRPr>
          </a:p>
          <a:p>
            <a:pPr marL="171450" indent="-171450">
              <a:buChar char="•"/>
            </a:pPr>
            <a:r>
              <a:rPr lang="cs-CZ" sz="1100" dirty="0">
                <a:ea typeface="+mn-lt"/>
                <a:cs typeface="+mn-lt"/>
              </a:rPr>
              <a:t>Účinky převodu vůči společnosti:</a:t>
            </a:r>
            <a:endParaRPr lang="cs-CZ" dirty="0">
              <a:ea typeface="Verdana"/>
              <a:cs typeface="Verdana"/>
            </a:endParaRPr>
          </a:p>
          <a:p>
            <a:pPr marL="344170" lvl="2" indent="-179705"/>
            <a:r>
              <a:rPr lang="cs-CZ" sz="1100">
                <a:ea typeface="+mn-lt"/>
                <a:cs typeface="+mn-lt"/>
              </a:rPr>
              <a:t>akcie na jméno: oznámení změny osoby akcionáře společnosti a předložení akcie na jméno společnosti;</a:t>
            </a:r>
            <a:endParaRPr lang="cs-CZ">
              <a:ea typeface="+mn-lt"/>
              <a:cs typeface="+mn-lt"/>
            </a:endParaRPr>
          </a:p>
          <a:p>
            <a:pPr marL="344170" lvl="2" indent="-179705"/>
            <a:r>
              <a:rPr lang="cs-CZ" sz="1100">
                <a:ea typeface="+mn-lt"/>
                <a:cs typeface="+mn-lt"/>
              </a:rPr>
              <a:t>akcie na majitele (jen zaknihovaná): prokázáním výpisem z účtu vlastníka / výpisem z evidence emise akcií.</a:t>
            </a:r>
            <a:endParaRPr lang="cs-CZ">
              <a:ea typeface="+mn-lt"/>
              <a:cs typeface="+mn-lt"/>
            </a:endParaRPr>
          </a:p>
          <a:p>
            <a:pPr marL="171450" indent="-171450">
              <a:buChar char="•"/>
            </a:pPr>
            <a:r>
              <a:rPr lang="cs-CZ" sz="1100" dirty="0">
                <a:ea typeface="+mn-lt"/>
                <a:cs typeface="+mn-lt"/>
              </a:rPr>
              <a:t>Převoditelnost akcií na jméno (ne na majitele) lze stanovami omezit – účinnost zápisem do OR:</a:t>
            </a:r>
            <a:endParaRPr lang="cs-CZ" dirty="0">
              <a:ea typeface="Verdana"/>
              <a:cs typeface="Verdana"/>
            </a:endParaRPr>
          </a:p>
          <a:p>
            <a:pPr marL="344170" lvl="2" indent="-179705"/>
            <a:r>
              <a:rPr lang="cs-CZ" sz="1100">
                <a:ea typeface="+mn-lt"/>
                <a:cs typeface="+mn-lt"/>
              </a:rPr>
              <a:t>omezení podmínkou souhlasu orgánu společnosti (odkládací podmínka účinnosti smlouvy, max. 6 měs. „long-stop“).</a:t>
            </a:r>
            <a:endParaRPr lang="cs-CZ"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970637494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Zdroje pro samostudiu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Obchodní společnost - objekt akvizičních transakcí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2000" dirty="0"/>
              <a:t>Prameny a literatura: </a:t>
            </a:r>
          </a:p>
          <a:p>
            <a:endParaRPr lang="cs-CZ" sz="600" dirty="0"/>
          </a:p>
          <a:p>
            <a:r>
              <a:rPr lang="cs-CZ" sz="1500" dirty="0"/>
              <a:t>Zákon č. 89/2012 Sb., občanský zákoník</a:t>
            </a:r>
          </a:p>
          <a:p>
            <a:r>
              <a:rPr lang="cs-CZ" sz="1500" dirty="0"/>
              <a:t>Zákon č. 90/2012 Sb., zákon o obchodních korporacích</a:t>
            </a:r>
          </a:p>
          <a:p>
            <a:endParaRPr lang="cs-CZ" sz="600" dirty="0"/>
          </a:p>
          <a:p>
            <a:pPr fontAlgn="ctr"/>
            <a:r>
              <a:rPr lang="cs-CZ" sz="1500" dirty="0"/>
              <a:t>Lavický, P. a kol.: </a:t>
            </a:r>
            <a:r>
              <a:rPr lang="cs-CZ" sz="1500" u="sng" dirty="0"/>
              <a:t>Občanský zákoník I. Obecná část (§ 1−654). Komentář</a:t>
            </a:r>
            <a:r>
              <a:rPr lang="cs-CZ" sz="1500" dirty="0"/>
              <a:t>. 1. vydání, Praha: C. H. Beck, 2014                                                                       </a:t>
            </a:r>
            <a:r>
              <a:rPr lang="en-US" b="1" i="1" dirty="0">
                <a:solidFill>
                  <a:srgbClr val="43B02A"/>
                </a:solidFill>
              </a:rPr>
              <a:t>[„KomNOZ-1“]</a:t>
            </a:r>
            <a:endParaRPr lang="cs-CZ" b="1" dirty="0">
              <a:solidFill>
                <a:srgbClr val="43B02A"/>
              </a:solidFill>
            </a:endParaRPr>
          </a:p>
          <a:p>
            <a:pPr fontAlgn="ctr"/>
            <a:r>
              <a:rPr lang="cs-CZ" sz="1500" dirty="0"/>
              <a:t>Spáčil,</a:t>
            </a:r>
            <a:r>
              <a:rPr lang="cs-CZ" dirty="0"/>
              <a:t> </a:t>
            </a:r>
            <a:r>
              <a:rPr lang="cs-CZ" sz="1500" dirty="0"/>
              <a:t>J.</a:t>
            </a:r>
            <a:r>
              <a:rPr lang="cs-CZ" dirty="0"/>
              <a:t> </a:t>
            </a:r>
            <a:r>
              <a:rPr lang="cs-CZ" sz="1500" dirty="0"/>
              <a:t>a</a:t>
            </a:r>
            <a:r>
              <a:rPr lang="cs-CZ" dirty="0"/>
              <a:t> </a:t>
            </a:r>
            <a:r>
              <a:rPr lang="cs-CZ" sz="1500" dirty="0"/>
              <a:t>kol.: </a:t>
            </a:r>
            <a:r>
              <a:rPr lang="cs-CZ" sz="1500" u="sng" dirty="0"/>
              <a:t>Občanský zákoník</a:t>
            </a:r>
            <a:r>
              <a:rPr lang="cs-CZ" u="sng" dirty="0"/>
              <a:t> </a:t>
            </a:r>
            <a:r>
              <a:rPr lang="cs-CZ" sz="1500" u="sng" dirty="0"/>
              <a:t>III.</a:t>
            </a:r>
            <a:r>
              <a:rPr lang="cs-CZ" u="sng" dirty="0"/>
              <a:t> </a:t>
            </a:r>
            <a:r>
              <a:rPr lang="cs-CZ" sz="1500" u="sng" dirty="0"/>
              <a:t>Věcná</a:t>
            </a:r>
            <a:r>
              <a:rPr lang="cs-CZ" u="sng" dirty="0"/>
              <a:t> </a:t>
            </a:r>
            <a:r>
              <a:rPr lang="cs-CZ" sz="1500" u="sng" dirty="0"/>
              <a:t>práva</a:t>
            </a:r>
            <a:r>
              <a:rPr lang="cs-CZ" u="sng" dirty="0"/>
              <a:t> </a:t>
            </a:r>
            <a:r>
              <a:rPr lang="cs-CZ" sz="1500" u="sng" dirty="0"/>
              <a:t>(§</a:t>
            </a:r>
            <a:r>
              <a:rPr lang="cs-CZ" u="sng" dirty="0"/>
              <a:t> </a:t>
            </a:r>
            <a:r>
              <a:rPr lang="cs-CZ" sz="1500" u="sng" dirty="0"/>
              <a:t>976–1474).</a:t>
            </a:r>
            <a:r>
              <a:rPr lang="cs-CZ" u="sng" dirty="0"/>
              <a:t> </a:t>
            </a:r>
            <a:r>
              <a:rPr lang="cs-CZ" sz="1500" u="sng" dirty="0"/>
              <a:t>Komentář</a:t>
            </a:r>
            <a:r>
              <a:rPr lang="cs-CZ" sz="1500" dirty="0"/>
              <a:t>. 1.</a:t>
            </a:r>
            <a:r>
              <a:rPr lang="cs-CZ" sz="700" dirty="0"/>
              <a:t> </a:t>
            </a:r>
            <a:r>
              <a:rPr lang="cs-CZ" sz="1500" dirty="0"/>
              <a:t>vydání. Praha: C. H. Beck, 2013                                                                       </a:t>
            </a:r>
            <a:r>
              <a:rPr lang="cs-CZ" b="1" i="1" dirty="0">
                <a:solidFill>
                  <a:srgbClr val="43B02A"/>
                </a:solidFill>
              </a:rPr>
              <a:t>[„KomNOZ-3“</a:t>
            </a:r>
            <a:r>
              <a:rPr lang="en-US" b="1" i="1" dirty="0">
                <a:solidFill>
                  <a:srgbClr val="43B02A"/>
                </a:solidFill>
              </a:rPr>
              <a:t>]</a:t>
            </a:r>
            <a:endParaRPr lang="cs-CZ" b="1" dirty="0">
              <a:solidFill>
                <a:srgbClr val="43B02A"/>
              </a:solidFill>
            </a:endParaRPr>
          </a:p>
          <a:p>
            <a:pPr fontAlgn="ctr"/>
            <a:r>
              <a:rPr lang="cs-CZ" sz="1500" dirty="0" err="1"/>
              <a:t>Hulmák</a:t>
            </a:r>
            <a:r>
              <a:rPr lang="cs-CZ" sz="1500" dirty="0"/>
              <a:t>, M. a kol.: </a:t>
            </a:r>
            <a:r>
              <a:rPr lang="cs-CZ" sz="1500" u="sng" dirty="0"/>
              <a:t>Občanský zákoník</a:t>
            </a:r>
            <a:r>
              <a:rPr lang="cs-CZ" sz="1050" u="sng" dirty="0"/>
              <a:t> </a:t>
            </a:r>
            <a:r>
              <a:rPr lang="cs-CZ" sz="1500" u="sng" dirty="0"/>
              <a:t>V. Závazkové právo.</a:t>
            </a:r>
            <a:r>
              <a:rPr lang="cs-CZ" u="sng" dirty="0"/>
              <a:t> </a:t>
            </a:r>
            <a:r>
              <a:rPr lang="cs-CZ" sz="1500" u="sng" dirty="0"/>
              <a:t>Obecná část (§ 1721–2054). Komentář</a:t>
            </a:r>
            <a:r>
              <a:rPr lang="cs-CZ" sz="1500" dirty="0"/>
              <a:t>. 1. vydání. Praha: C. H. Beck, 2014                                        </a:t>
            </a:r>
            <a:r>
              <a:rPr lang="cs-CZ" b="1" i="1" dirty="0">
                <a:solidFill>
                  <a:srgbClr val="43B02A"/>
                </a:solidFill>
              </a:rPr>
              <a:t>[„KomNOZ-5“]</a:t>
            </a:r>
            <a:endParaRPr lang="cs-CZ" b="1" dirty="0">
              <a:solidFill>
                <a:srgbClr val="43B02A"/>
              </a:solidFill>
            </a:endParaRPr>
          </a:p>
          <a:p>
            <a:pPr fontAlgn="ctr"/>
            <a:r>
              <a:rPr lang="cs-CZ" sz="1500" dirty="0" err="1"/>
              <a:t>Hulmák</a:t>
            </a:r>
            <a:r>
              <a:rPr lang="cs-CZ" sz="1500" dirty="0"/>
              <a:t>,</a:t>
            </a:r>
            <a:r>
              <a:rPr lang="cs-CZ" sz="1100" dirty="0"/>
              <a:t> </a:t>
            </a:r>
            <a:r>
              <a:rPr lang="cs-CZ" sz="1500" dirty="0"/>
              <a:t>M.</a:t>
            </a:r>
            <a:r>
              <a:rPr lang="cs-CZ" sz="1100" dirty="0"/>
              <a:t> </a:t>
            </a:r>
            <a:r>
              <a:rPr lang="cs-CZ" sz="1500" dirty="0"/>
              <a:t>a</a:t>
            </a:r>
            <a:r>
              <a:rPr lang="cs-CZ" sz="1100" dirty="0"/>
              <a:t> </a:t>
            </a:r>
            <a:r>
              <a:rPr lang="cs-CZ" sz="1500" dirty="0"/>
              <a:t>kol.:</a:t>
            </a:r>
            <a:r>
              <a:rPr lang="cs-CZ" sz="1100" dirty="0"/>
              <a:t> </a:t>
            </a:r>
            <a:r>
              <a:rPr lang="cs-CZ" sz="1500" u="sng" dirty="0"/>
              <a:t>Občanský</a:t>
            </a:r>
            <a:r>
              <a:rPr lang="cs-CZ" sz="1100" u="sng" dirty="0"/>
              <a:t> </a:t>
            </a:r>
            <a:r>
              <a:rPr lang="cs-CZ" sz="1500" u="sng" dirty="0"/>
              <a:t>zákoník VI.</a:t>
            </a:r>
            <a:r>
              <a:rPr lang="cs-CZ" sz="1050" u="sng" dirty="0"/>
              <a:t> </a:t>
            </a:r>
            <a:r>
              <a:rPr lang="cs-CZ" sz="1500" u="sng" dirty="0"/>
              <a:t>Závazkové</a:t>
            </a:r>
            <a:r>
              <a:rPr lang="cs-CZ" sz="1100" u="sng" dirty="0"/>
              <a:t> </a:t>
            </a:r>
            <a:r>
              <a:rPr lang="cs-CZ" sz="1500" u="sng" dirty="0"/>
              <a:t>právo. Zvláštní</a:t>
            </a:r>
            <a:r>
              <a:rPr lang="cs-CZ" sz="1100" u="sng" dirty="0"/>
              <a:t> </a:t>
            </a:r>
            <a:r>
              <a:rPr lang="cs-CZ" sz="1500" u="sng" dirty="0"/>
              <a:t>část</a:t>
            </a:r>
            <a:r>
              <a:rPr lang="cs-CZ" sz="1100" u="sng" dirty="0"/>
              <a:t> </a:t>
            </a:r>
            <a:r>
              <a:rPr lang="cs-CZ" sz="1500" u="sng" dirty="0"/>
              <a:t>(§</a:t>
            </a:r>
            <a:r>
              <a:rPr lang="cs-CZ" sz="1100" u="sng" dirty="0"/>
              <a:t> </a:t>
            </a:r>
            <a:r>
              <a:rPr lang="cs-CZ" sz="1500" u="sng" dirty="0"/>
              <a:t>2055–3014)</a:t>
            </a:r>
            <a:r>
              <a:rPr lang="cs-CZ" sz="1500" dirty="0"/>
              <a:t>. Komentář. 1. vydání. Praha: C. H. Beck, 2014                                </a:t>
            </a:r>
            <a:r>
              <a:rPr lang="cs-CZ" sz="1100" dirty="0"/>
              <a:t> </a:t>
            </a:r>
            <a:r>
              <a:rPr lang="cs-CZ" sz="1500" dirty="0"/>
              <a:t>       </a:t>
            </a:r>
            <a:r>
              <a:rPr lang="cs-CZ" b="1" i="1" dirty="0">
                <a:solidFill>
                  <a:srgbClr val="43B02A"/>
                </a:solidFill>
              </a:rPr>
              <a:t>[„KomNOZ-6“]</a:t>
            </a:r>
            <a:endParaRPr lang="cs-CZ" b="1" dirty="0">
              <a:solidFill>
                <a:srgbClr val="43B02A"/>
              </a:solidFill>
            </a:endParaRPr>
          </a:p>
          <a:p>
            <a:pPr fontAlgn="ctr"/>
            <a:r>
              <a:rPr lang="cs-CZ" sz="1500" dirty="0"/>
              <a:t>Štenglová, I., Havel, B., </a:t>
            </a:r>
            <a:r>
              <a:rPr lang="cs-CZ" sz="1500" dirty="0" err="1"/>
              <a:t>Cileček</a:t>
            </a:r>
            <a:r>
              <a:rPr lang="cs-CZ" sz="1500" dirty="0"/>
              <a:t>, F., Kuhn, P., </a:t>
            </a:r>
            <a:r>
              <a:rPr lang="cs-CZ" sz="1500" dirty="0" err="1"/>
              <a:t>Šuk</a:t>
            </a:r>
            <a:r>
              <a:rPr lang="cs-CZ" sz="1500" dirty="0"/>
              <a:t>, P.: </a:t>
            </a:r>
            <a:r>
              <a:rPr lang="cs-CZ" sz="1500" u="sng" dirty="0"/>
              <a:t>Zákon o obchodních korporacích. Komentář</a:t>
            </a:r>
            <a:r>
              <a:rPr lang="cs-CZ" sz="1500" dirty="0"/>
              <a:t>. 2. vydání. Praha: C. H. Beck, 2017                                           </a:t>
            </a:r>
            <a:r>
              <a:rPr lang="cs-CZ" b="1" i="1" dirty="0">
                <a:solidFill>
                  <a:srgbClr val="43B02A"/>
                </a:solidFill>
              </a:rPr>
              <a:t>[„</a:t>
            </a:r>
            <a:r>
              <a:rPr lang="cs-CZ" b="1" i="1" dirty="0" err="1">
                <a:solidFill>
                  <a:srgbClr val="43B02A"/>
                </a:solidFill>
              </a:rPr>
              <a:t>KomZOK</a:t>
            </a:r>
            <a:r>
              <a:rPr lang="cs-CZ" b="1" i="1" dirty="0">
                <a:solidFill>
                  <a:srgbClr val="43B02A"/>
                </a:solidFill>
              </a:rPr>
              <a:t>“]</a:t>
            </a:r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2050705541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Zdroje pro samostudiu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Obchodní společnost - objekt akvizičních transakcí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>
              <a:spcAft>
                <a:spcPts val="0"/>
              </a:spcAft>
            </a:pPr>
            <a:r>
              <a:rPr lang="cs-CZ" sz="2000" dirty="0">
                <a:latin typeface="+mj-lt"/>
                <a:ea typeface="Calibri" panose="020F0502020204030204" pitchFamily="34" charset="0"/>
              </a:rPr>
              <a:t>Odkazy:</a:t>
            </a:r>
          </a:p>
          <a:p>
            <a:pPr algn="just">
              <a:spcAft>
                <a:spcPts val="0"/>
              </a:spcAft>
            </a:pPr>
            <a:endParaRPr lang="cs-CZ" sz="1400" dirty="0">
              <a:latin typeface="+mj-lt"/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Věci a jejich rozdělení</a:t>
            </a:r>
            <a:r>
              <a:rPr lang="cs-CZ" sz="1100" dirty="0">
                <a:ea typeface="Calibri" panose="020F0502020204030204" pitchFamily="34" charset="0"/>
              </a:rPr>
              <a:t> – § 489 </a:t>
            </a:r>
            <a:r>
              <a:rPr lang="cs-CZ" sz="1100" err="1">
                <a:ea typeface="Calibri" panose="020F0502020204030204" pitchFamily="34" charset="0"/>
              </a:rPr>
              <a:t>an</a:t>
            </a:r>
            <a:r>
              <a:rPr lang="cs-CZ" sz="1100" dirty="0">
                <a:ea typeface="Calibri" panose="020F0502020204030204" pitchFamily="34" charset="0"/>
              </a:rPr>
              <a:t>. NOZ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1727 an.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NOZ</a:t>
            </a:r>
            <a:r>
              <a:rPr lang="cs-CZ" sz="1100" i="1" dirty="0">
                <a:solidFill>
                  <a:srgbClr val="00B050"/>
                </a:solidFill>
                <a:ea typeface="Calibri" panose="020F0502020204030204" pitchFamily="34" charset="0"/>
              </a:rPr>
              <a:t>-1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Převod vlastnického práva k věci obecně</a:t>
            </a:r>
            <a:r>
              <a:rPr lang="cs-CZ" sz="1100" dirty="0">
                <a:ea typeface="Calibri" panose="020F0502020204030204" pitchFamily="34" charset="0"/>
              </a:rPr>
              <a:t> – § 1099-1108 NOZ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330 an.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NOZ</a:t>
            </a:r>
            <a:r>
              <a:rPr lang="cs-CZ" sz="1100" i="1" dirty="0">
                <a:solidFill>
                  <a:srgbClr val="00B050"/>
                </a:solidFill>
                <a:ea typeface="Calibri" panose="020F0502020204030204" pitchFamily="34" charset="0"/>
              </a:rPr>
              <a:t>-3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Cenné papíry</a:t>
            </a:r>
            <a:r>
              <a:rPr lang="cs-CZ" sz="1100" dirty="0">
                <a:ea typeface="Calibri" panose="020F0502020204030204" pitchFamily="34" charset="0"/>
              </a:rPr>
              <a:t> – § 514-544 NOZ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1816 an.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NOZ</a:t>
            </a:r>
            <a:r>
              <a:rPr lang="cs-CZ" sz="1100" i="1" dirty="0">
                <a:solidFill>
                  <a:srgbClr val="00B050"/>
                </a:solidFill>
                <a:ea typeface="Calibri" panose="020F0502020204030204" pitchFamily="34" charset="0"/>
              </a:rPr>
              <a:t>-1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Převod vlastnického práva k CP</a:t>
            </a:r>
            <a:r>
              <a:rPr lang="cs-CZ" sz="1100" dirty="0">
                <a:ea typeface="Calibri" panose="020F0502020204030204" pitchFamily="34" charset="0"/>
              </a:rPr>
              <a:t> – § 1103 NOZ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343 an.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NOZ</a:t>
            </a:r>
            <a:r>
              <a:rPr lang="cs-CZ" sz="1100" i="1" dirty="0">
                <a:solidFill>
                  <a:srgbClr val="00B050"/>
                </a:solidFill>
                <a:ea typeface="Calibri" panose="020F0502020204030204" pitchFamily="34" charset="0"/>
              </a:rPr>
              <a:t>-3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Akcie</a:t>
            </a:r>
            <a:r>
              <a:rPr lang="cs-CZ" sz="1100" dirty="0">
                <a:ea typeface="Calibri" panose="020F0502020204030204" pitchFamily="34" charset="0"/>
              </a:rPr>
              <a:t> – § 256-285 ZOK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510 an.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ZOK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Převod akcií v a.s.</a:t>
            </a:r>
            <a:r>
              <a:rPr lang="cs-CZ" sz="1100" dirty="0">
                <a:ea typeface="Calibri" panose="020F0502020204030204" pitchFamily="34" charset="0"/>
              </a:rPr>
              <a:t> – pak více § 269an 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ZOK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527 an.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ZOK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r>
              <a:rPr lang="en-US" sz="1100" dirty="0">
                <a:solidFill>
                  <a:srgbClr val="00B050"/>
                </a:solidFill>
                <a:ea typeface="Calibri" panose="020F0502020204030204" pitchFamily="34" charset="0"/>
              </a:rPr>
              <a:t> </a:t>
            </a:r>
            <a:r>
              <a:rPr lang="cs-CZ" sz="1100" dirty="0">
                <a:ea typeface="Calibri" panose="020F0502020204030204" pitchFamily="34" charset="0"/>
              </a:rPr>
              <a:t>(převoditelnost akcií na jméno)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;</a:t>
            </a:r>
            <a:r>
              <a:rPr lang="cs-CZ" sz="1100" dirty="0">
                <a:ea typeface="Calibri" panose="020F0502020204030204" pitchFamily="34" charset="0"/>
              </a:rPr>
              <a:t> § 274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ZOK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532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ZOK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r>
              <a:rPr lang="en-US" sz="1100" dirty="0">
                <a:ea typeface="Calibri" panose="020F0502020204030204" pitchFamily="34" charset="0"/>
              </a:rPr>
              <a:t> </a:t>
            </a:r>
            <a:r>
              <a:rPr lang="cs-CZ" sz="1100" dirty="0">
                <a:ea typeface="Calibri" panose="020F0502020204030204" pitchFamily="34" charset="0"/>
              </a:rPr>
              <a:t>(převoditelnost akcií na majitele)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; </a:t>
            </a:r>
            <a:r>
              <a:rPr lang="cs-CZ" sz="1100" dirty="0">
                <a:ea typeface="Calibri" panose="020F0502020204030204" pitchFamily="34" charset="0"/>
              </a:rPr>
              <a:t>§ 275 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ZOK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533 an.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ZOK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r>
              <a:rPr lang="en-US" sz="1100" dirty="0">
                <a:solidFill>
                  <a:srgbClr val="00B050"/>
                </a:solidFill>
                <a:ea typeface="Calibri" panose="020F0502020204030204" pitchFamily="34" charset="0"/>
              </a:rPr>
              <a:t> </a:t>
            </a:r>
            <a:r>
              <a:rPr lang="cs-CZ" sz="1100" dirty="0">
                <a:ea typeface="Calibri" panose="020F0502020204030204" pitchFamily="34" charset="0"/>
              </a:rPr>
              <a:t>(převod zaknihovaných akcií)</a:t>
            </a: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Samostatně převoditelná práva</a:t>
            </a:r>
            <a:r>
              <a:rPr lang="cs-CZ" sz="1100" dirty="0">
                <a:ea typeface="Calibri" panose="020F0502020204030204" pitchFamily="34" charset="0"/>
              </a:rPr>
              <a:t> – § 281an ZOK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541 an.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ZOK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Nucený přechod účastnických CP v a.s.</a:t>
            </a:r>
            <a:r>
              <a:rPr lang="cs-CZ" sz="1100" dirty="0">
                <a:ea typeface="Calibri" panose="020F0502020204030204" pitchFamily="34" charset="0"/>
              </a:rPr>
              <a:t> - § 375an ZOK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635 an.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ZOK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Právo odkupu vlastníků účastnických CP v a.s.</a:t>
            </a:r>
            <a:r>
              <a:rPr lang="cs-CZ" sz="1100" dirty="0">
                <a:ea typeface="Calibri" panose="020F0502020204030204" pitchFamily="34" charset="0"/>
              </a:rPr>
              <a:t> - § 395 ZOK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671/2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ZOK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Převod podílu v s.r.o.</a:t>
            </a:r>
            <a:r>
              <a:rPr lang="cs-CZ" sz="1100" dirty="0">
                <a:ea typeface="Calibri" panose="020F0502020204030204" pitchFamily="34" charset="0"/>
              </a:rPr>
              <a:t> – § 207an ZOK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454 an.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ZOK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Souhlas VH s převodem podílu v s.r.o. na 3. osobu a důsledky jeho neudělení</a:t>
            </a:r>
            <a:r>
              <a:rPr lang="cs-CZ" sz="1100" dirty="0">
                <a:ea typeface="Calibri" panose="020F0502020204030204" pitchFamily="34" charset="0"/>
              </a:rPr>
              <a:t> - § 208 ZOK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456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ZOK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Modifikace převoditelnosti podílu v případě jednočlenné obchodní společnosti</a:t>
            </a:r>
            <a:r>
              <a:rPr lang="cs-CZ" sz="1100" dirty="0">
                <a:ea typeface="Calibri" panose="020F0502020204030204" pitchFamily="34" charset="0"/>
              </a:rPr>
              <a:t> - § 14 ZOK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33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ZOK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r>
              <a:rPr lang="cs-CZ" sz="1100" i="1" dirty="0">
                <a:solidFill>
                  <a:srgbClr val="00B050"/>
                </a:solidFill>
                <a:ea typeface="Calibri" panose="020F0502020204030204" pitchFamily="34" charset="0"/>
              </a:rPr>
              <a:t> 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 </a:t>
            </a:r>
            <a:r>
              <a:rPr lang="cs-CZ" sz="1100" dirty="0">
                <a:ea typeface="Calibri" panose="020F0502020204030204" pitchFamily="34" charset="0"/>
              </a:rPr>
              <a:t>a</a:t>
            </a:r>
            <a:r>
              <a:rPr lang="cs-CZ" sz="1100" dirty="0"/>
              <a:t> stanovisko NS </a:t>
            </a:r>
            <a:r>
              <a:rPr lang="cs-CZ" sz="1100" err="1"/>
              <a:t>Cpjn</a:t>
            </a:r>
            <a:r>
              <a:rPr lang="cs-CZ" sz="1100" dirty="0"/>
              <a:t> 204/2015</a:t>
            </a: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Rozdělení podílu v obchodní společnosti</a:t>
            </a:r>
            <a:r>
              <a:rPr lang="cs-CZ" sz="1100" dirty="0">
                <a:ea typeface="Calibri" panose="020F0502020204030204" pitchFamily="34" charset="0"/>
              </a:rPr>
              <a:t> – § 43 ZOK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119 an. </a:t>
            </a:r>
            <a:r>
              <a:rPr lang="en-US" sz="1100" i="1" err="1">
                <a:solidFill>
                  <a:srgbClr val="00B050"/>
                </a:solidFill>
                <a:ea typeface="Calibri" panose="020F0502020204030204" pitchFamily="34" charset="0"/>
              </a:rPr>
              <a:t>KomZOK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]</a:t>
            </a: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K předsmluvní odpovědnosti a povinnosti mlčenlivosti (při sjednávání SPA)</a:t>
            </a:r>
            <a:r>
              <a:rPr lang="cs-CZ" sz="1100" dirty="0">
                <a:ea typeface="Calibri" panose="020F0502020204030204" pitchFamily="34" charset="0"/>
              </a:rPr>
              <a:t> – § 1728-1730 NOZ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46 an. KomNOZ-5]</a:t>
            </a:r>
            <a:endParaRPr lang="cs-CZ" sz="1100" dirty="0">
              <a:ea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cs-CZ" sz="1100" b="1" dirty="0">
                <a:ea typeface="Calibri" panose="020F0502020204030204" pitchFamily="34" charset="0"/>
              </a:rPr>
              <a:t>Obchodní tajemství a jeho ochrana (skutková podstata </a:t>
            </a:r>
            <a:r>
              <a:rPr lang="cs-CZ" sz="1100" b="1" err="1">
                <a:ea typeface="Calibri" panose="020F0502020204030204" pitchFamily="34" charset="0"/>
              </a:rPr>
              <a:t>nekalosoutěžního</a:t>
            </a:r>
            <a:r>
              <a:rPr lang="cs-CZ" sz="1100" b="1" dirty="0">
                <a:ea typeface="Calibri" panose="020F0502020204030204" pitchFamily="34" charset="0"/>
              </a:rPr>
              <a:t> deliktu)</a:t>
            </a:r>
            <a:r>
              <a:rPr lang="cs-CZ" sz="1100" dirty="0">
                <a:ea typeface="Calibri" panose="020F0502020204030204" pitchFamily="34" charset="0"/>
              </a:rPr>
              <a:t> – § 504 NOZ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1782 an. KomNOZ-1]</a:t>
            </a:r>
            <a:r>
              <a:rPr lang="cs-CZ" sz="1100" dirty="0">
                <a:ea typeface="Calibri" panose="020F0502020204030204" pitchFamily="34" charset="0"/>
              </a:rPr>
              <a:t>, § 2985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NOZ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1829 an. KomNOZ-6]</a:t>
            </a:r>
            <a:r>
              <a:rPr lang="cs-CZ" sz="1100" dirty="0">
                <a:ea typeface="Calibri" panose="020F0502020204030204" pitchFamily="34" charset="0"/>
              </a:rPr>
              <a:t> v kombinaci s § 2976 NOZ</a:t>
            </a:r>
            <a:r>
              <a:rPr lang="cs-CZ" sz="1100" dirty="0">
                <a:solidFill>
                  <a:srgbClr val="000000"/>
                </a:solidFill>
                <a:ea typeface="Calibri" panose="020F0502020204030204" pitchFamily="34" charset="0"/>
              </a:rPr>
              <a:t> </a:t>
            </a:r>
            <a:r>
              <a:rPr lang="en-US" sz="1100" i="1" dirty="0">
                <a:solidFill>
                  <a:srgbClr val="00B050"/>
                </a:solidFill>
                <a:ea typeface="Calibri" panose="020F0502020204030204" pitchFamily="34" charset="0"/>
              </a:rPr>
              <a:t>[str. 1769 an. KomNOZ-6]</a:t>
            </a:r>
            <a:endParaRPr lang="cs-CZ" sz="11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573255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1" dirty="0"/>
              <a:t>O</a:t>
            </a:r>
            <a:r>
              <a:rPr lang="cs-CZ" sz="2400" b="1" dirty="0" err="1"/>
              <a:t>snova</a:t>
            </a:r>
            <a:r>
              <a:rPr lang="cs-CZ" sz="2400" b="1" dirty="0"/>
              <a:t> semináře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61950" lvl="1" indent="-361950">
              <a:buFont typeface="+mj-lt"/>
              <a:buAutoNum type="arabicPeriod"/>
            </a:pPr>
            <a:r>
              <a:rPr lang="cs-CZ" sz="1800" b="1" dirty="0"/>
              <a:t>Před-transakční smlouvy v akvizičních transakcích</a:t>
            </a:r>
          </a:p>
          <a:p>
            <a:pPr marL="361950" lvl="1" indent="-361950">
              <a:buFont typeface="+mj-lt"/>
              <a:buAutoNum type="arabicPeriod"/>
            </a:pPr>
            <a:r>
              <a:rPr lang="cs-CZ" sz="1800" b="1" dirty="0"/>
              <a:t>Obchodní společnost jako objekt akvizičních transakcí</a:t>
            </a:r>
          </a:p>
        </p:txBody>
      </p:sp>
    </p:spTree>
    <p:extLst>
      <p:ext uri="{BB962C8B-B14F-4D97-AF65-F5344CB8AC3E}">
        <p14:creationId xmlns:p14="http://schemas.microsoft.com/office/powerpoint/2010/main" val="1236578333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Děkujeme.</a:t>
            </a:r>
          </a:p>
        </p:txBody>
      </p:sp>
    </p:spTree>
    <p:extLst>
      <p:ext uri="{BB962C8B-B14F-4D97-AF65-F5344CB8AC3E}">
        <p14:creationId xmlns:p14="http://schemas.microsoft.com/office/powerpoint/2010/main" val="225556756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Před-transakční smlouvy </a:t>
            </a:r>
            <a:br>
              <a:rPr lang="cs-CZ" dirty="0"/>
            </a:br>
            <a:r>
              <a:rPr lang="cs-CZ" dirty="0"/>
              <a:t>v akvizičních transakcích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76238" y="3429000"/>
            <a:ext cx="7905750" cy="1566532"/>
          </a:xfrm>
        </p:spPr>
        <p:txBody>
          <a:bodyPr/>
          <a:lstStyle/>
          <a:p>
            <a:r>
              <a:rPr lang="it-IT" sz="3200" dirty="0" err="1"/>
              <a:t>Dohoda</a:t>
            </a:r>
            <a:r>
              <a:rPr lang="it-IT" sz="3200" dirty="0"/>
              <a:t> o </a:t>
            </a:r>
            <a:r>
              <a:rPr lang="it-IT" sz="3200" dirty="0" err="1"/>
              <a:t>mlčenlivosti</a:t>
            </a:r>
            <a:r>
              <a:rPr lang="it-IT" sz="3200" dirty="0"/>
              <a:t> / </a:t>
            </a:r>
            <a:endParaRPr lang="cs-CZ" sz="3200" dirty="0"/>
          </a:p>
          <a:p>
            <a:r>
              <a:rPr lang="it-IT" sz="3200" dirty="0"/>
              <a:t>Non-</a:t>
            </a:r>
            <a:r>
              <a:rPr lang="it-IT" sz="3200" dirty="0" err="1"/>
              <a:t>Disclosure</a:t>
            </a:r>
            <a:r>
              <a:rPr lang="it-IT" sz="3200" dirty="0"/>
              <a:t> Agreement (NDA)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3189826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Dohoda o mlčenlivosti / </a:t>
            </a:r>
            <a:r>
              <a:rPr lang="en-US" dirty="0"/>
              <a:t>N</a:t>
            </a:r>
            <a:r>
              <a:rPr lang="en-GB" dirty="0"/>
              <a:t>on-Disclosure Agreement </a:t>
            </a:r>
            <a:r>
              <a:rPr lang="cs-CZ" dirty="0"/>
              <a:t>(NDA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Před-transakční smlouvy v akvizičních transakcích</a:t>
            </a:r>
            <a:endParaRPr lang="cs-CZ" b="1" dirty="0"/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655138909"/>
              </p:ext>
            </p:extLst>
          </p:nvPr>
        </p:nvGraphicFramePr>
        <p:xfrm>
          <a:off x="362422" y="1251226"/>
          <a:ext cx="8385578" cy="5461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05794242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Dohoda o mlčenlivosti / </a:t>
            </a:r>
            <a:r>
              <a:rPr lang="en-US" dirty="0"/>
              <a:t>N</a:t>
            </a:r>
            <a:r>
              <a:rPr lang="en-GB" dirty="0"/>
              <a:t>on-Disclosure Agreement </a:t>
            </a:r>
            <a:r>
              <a:rPr lang="cs-CZ" dirty="0"/>
              <a:t>(NDA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Před-transakční smlouvy v akvizičních transakcích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Uzavírána v úvodní fázi transakčního procesu (před předložením informačního memoranda, manažerskými prezentacemi a zpřístupněním (</a:t>
            </a:r>
            <a:r>
              <a:rPr lang="cs-CZ" sz="1400" dirty="0" err="1"/>
              <a:t>virtual</a:t>
            </a:r>
            <a:r>
              <a:rPr lang="cs-CZ" sz="1400" dirty="0"/>
              <a:t>) data </a:t>
            </a:r>
            <a:r>
              <a:rPr lang="cs-CZ" sz="1400" dirty="0" err="1"/>
              <a:t>room</a:t>
            </a:r>
            <a:r>
              <a:rPr lang="cs-CZ" sz="1400" dirty="0"/>
              <a:t> pro </a:t>
            </a:r>
            <a:r>
              <a:rPr lang="cs-CZ" sz="1400" dirty="0" err="1"/>
              <a:t>due</a:t>
            </a:r>
            <a:r>
              <a:rPr lang="cs-CZ" sz="1400" dirty="0"/>
              <a:t> diligenc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V aukčním procesu i bilaterálním jednání (v bilaterálním jednání někdy jako právně závazná součást prohlášení o záměru či obdobného dokumentu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Obecná právní úprava – § 1730 NOZ:</a:t>
            </a:r>
          </a:p>
          <a:p>
            <a:pPr marL="465750" lvl="1" indent="-285750"/>
            <a:r>
              <a:rPr lang="cs-CZ" sz="1400" dirty="0"/>
              <a:t>(1) Poskytnou-li si strany při jednání o smlouvě údaje a sdělení, má každá ze stran právo vést o nich záznamy, i když smlouva nebude uzavřena.</a:t>
            </a:r>
          </a:p>
          <a:p>
            <a:pPr marL="465750" lvl="1" indent="-285750"/>
            <a:r>
              <a:rPr lang="cs-CZ" sz="1400" dirty="0"/>
              <a:t>(2) Získá-li strana při jednání o smlouvě o druhé straně důvěrný údaj nebo sdělení, dbá, aby nebyly zneužity, nebo aby nedošlo k jejich prozrazení bez zákonného důvodu. Poruší-li tuto povinnost a obohatí-li se tím, vydá druhé straně to, oč se obohatil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203841890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Dohoda o mlčenlivosti / </a:t>
            </a:r>
            <a:r>
              <a:rPr lang="en-US" dirty="0"/>
              <a:t>N</a:t>
            </a:r>
            <a:r>
              <a:rPr lang="en-GB" dirty="0"/>
              <a:t>on-Disclosure Agreement </a:t>
            </a:r>
            <a:r>
              <a:rPr lang="cs-CZ" dirty="0"/>
              <a:t>(NDA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Před-transakční smlouvy v akvizičních transakcích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1400" b="1" dirty="0"/>
              <a:t>Obsah NDA (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Jednostranná (jen jedna strana poskytuje informace, zpravidla prodávající) nebo oboustranná (obě strany vzájemně v postavení poskytující i přijímající stran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Vymezení objektu ochrany (chráněné informace) – zpravidla široké vymezení nad rámec obchodního tajemství, včetně samotného obsahu jednání mezi stranam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Vymezení subjektu ochrany (poskytující strana např. prodávající, cílová společnost, další koncernové osoby – smlouva ve prospěch třetího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Vymezení uvažované transakce a povoleného účelu užití informací (užití příjemcem jen pro účely posouzení uvažované transakce a jednání o ní, zákaz užití pro jiný účel)</a:t>
            </a:r>
          </a:p>
        </p:txBody>
      </p:sp>
    </p:spTree>
    <p:extLst>
      <p:ext uri="{BB962C8B-B14F-4D97-AF65-F5344CB8AC3E}">
        <p14:creationId xmlns:p14="http://schemas.microsoft.com/office/powerpoint/2010/main" val="255344969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Dohoda o mlčenlivosti / </a:t>
            </a:r>
            <a:r>
              <a:rPr lang="en-US" dirty="0"/>
              <a:t>N</a:t>
            </a:r>
            <a:r>
              <a:rPr lang="en-GB" dirty="0"/>
              <a:t>on-Disclosure Agreement </a:t>
            </a:r>
            <a:r>
              <a:rPr lang="cs-CZ" dirty="0"/>
              <a:t>(NDA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Před-transakční smlouvy v akvizičních transakcích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1400" b="1" dirty="0"/>
              <a:t>Obsah NDA (I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Vymezení okruhu povoleného nakládání s chráněnými informacemi (poskytování dalším osobám):</a:t>
            </a:r>
          </a:p>
          <a:p>
            <a:pPr marL="465750" lvl="1" indent="-285750"/>
            <a:r>
              <a:rPr lang="cs-CZ" sz="1400" dirty="0"/>
              <a:t>Souhlas poskytující strany</a:t>
            </a:r>
          </a:p>
          <a:p>
            <a:pPr marL="465750" lvl="1" indent="-285750"/>
            <a:r>
              <a:rPr lang="cs-CZ" sz="1400" dirty="0"/>
              <a:t>Informace je veřejná nebo se stane veřejnou bez porušení NDA</a:t>
            </a:r>
          </a:p>
          <a:p>
            <a:pPr marL="465750" lvl="1" indent="-285750"/>
            <a:r>
              <a:rPr lang="cs-CZ" sz="1400" dirty="0"/>
              <a:t>Přijímající strana již informaci má bez omezení před uzavřením NDA</a:t>
            </a:r>
          </a:p>
          <a:p>
            <a:pPr marL="465750" lvl="1" indent="-285750"/>
            <a:r>
              <a:rPr lang="cs-CZ" sz="1400" dirty="0"/>
              <a:t>Poskytnutí soudu či správnímu orgánu na základě právního předpisu či jejich rozhodnutí</a:t>
            </a:r>
          </a:p>
          <a:p>
            <a:pPr marL="465750" lvl="1" indent="-285750"/>
            <a:r>
              <a:rPr lang="cs-CZ" sz="1400" dirty="0"/>
              <a:t>Poskytnutí autorizovaným osobám na straně příjemce (management, zaměstnanci, poradci, banky, koncernové osoby), jsou-li vázáni stejnou mlčenlivostí + tzv. „</a:t>
            </a:r>
            <a:r>
              <a:rPr lang="cs-CZ" sz="1400" dirty="0" err="1"/>
              <a:t>need</a:t>
            </a:r>
            <a:r>
              <a:rPr lang="cs-CZ" sz="1400" dirty="0"/>
              <a:t>-to-</a:t>
            </a:r>
            <a:r>
              <a:rPr lang="cs-CZ" sz="1400" dirty="0" err="1"/>
              <a:t>know</a:t>
            </a:r>
            <a:r>
              <a:rPr lang="cs-CZ" sz="1400" dirty="0"/>
              <a:t>“ princi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Závazek příjemce zajistit ochranu informací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Povinnost vrátit resp. zničit nosiče informací při ukončení jednání nebo na výzvu poskytující strany (vyjma zákonných povinností udržovat tyto nosiče, případně automatických záloh elektronických informací)</a:t>
            </a:r>
          </a:p>
        </p:txBody>
      </p:sp>
    </p:spTree>
    <p:extLst>
      <p:ext uri="{BB962C8B-B14F-4D97-AF65-F5344CB8AC3E}">
        <p14:creationId xmlns:p14="http://schemas.microsoft.com/office/powerpoint/2010/main" val="46817526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Dohoda o mlčenlivosti / </a:t>
            </a:r>
            <a:r>
              <a:rPr lang="en-US" dirty="0"/>
              <a:t>N</a:t>
            </a:r>
            <a:r>
              <a:rPr lang="en-GB" dirty="0"/>
              <a:t>on-Disclosure Agreement </a:t>
            </a:r>
            <a:r>
              <a:rPr lang="cs-CZ" dirty="0"/>
              <a:t>(NDA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Před-transakční smlouvy v akvizičních transakcích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1400" b="1" dirty="0"/>
              <a:t>Obsah NDA (II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Non-</a:t>
            </a:r>
            <a:r>
              <a:rPr lang="cs-CZ" sz="1400" dirty="0" err="1"/>
              <a:t>solicitation</a:t>
            </a:r>
            <a:r>
              <a:rPr lang="cs-CZ" sz="1400" dirty="0"/>
              <a:t> klauzule – zákaz kontaktovat personál a obchodní partnery:</a:t>
            </a:r>
          </a:p>
          <a:p>
            <a:pPr marL="465750" lvl="1" indent="-285750"/>
            <a:r>
              <a:rPr lang="cs-CZ" sz="1400" dirty="0"/>
              <a:t>s cílem získat informace, nebo</a:t>
            </a:r>
          </a:p>
          <a:p>
            <a:pPr marL="465750" lvl="1" indent="-285750"/>
            <a:r>
              <a:rPr lang="cs-CZ" sz="1400" dirty="0"/>
              <a:t>s nabídkou spolupráce, nebo</a:t>
            </a:r>
          </a:p>
          <a:p>
            <a:pPr marL="465750" lvl="1" indent="-285750"/>
            <a:r>
              <a:rPr lang="cs-CZ" sz="1400" dirty="0"/>
              <a:t>s pobídkou pro ukončení vztahu k poskytující straně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Náhrada škody z porušení ND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Smluvní poku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Nezávaznost jednání o transakci a vyloučení předsmluvní odpovědnost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Trvání NDA</a:t>
            </a:r>
          </a:p>
        </p:txBody>
      </p:sp>
    </p:spTree>
    <p:extLst>
      <p:ext uri="{BB962C8B-B14F-4D97-AF65-F5344CB8AC3E}">
        <p14:creationId xmlns:p14="http://schemas.microsoft.com/office/powerpoint/2010/main" val="4196747643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1592403"/>
          </a:xfrm>
        </p:spPr>
        <p:txBody>
          <a:bodyPr/>
          <a:lstStyle/>
          <a:p>
            <a:r>
              <a:rPr lang="cs-CZ" dirty="0"/>
              <a:t>Před-transakční smlouvy     v akvizičních transakcích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76238" y="3429000"/>
            <a:ext cx="7905750" cy="1566532"/>
          </a:xfrm>
        </p:spPr>
        <p:txBody>
          <a:bodyPr/>
          <a:lstStyle/>
          <a:p>
            <a:r>
              <a:rPr lang="cs-CZ" sz="3200" dirty="0"/>
              <a:t>Prohlášení o záměru</a:t>
            </a:r>
            <a:r>
              <a:rPr lang="it-IT" sz="3200" dirty="0"/>
              <a:t> / </a:t>
            </a:r>
            <a:endParaRPr lang="cs-CZ" sz="3200" dirty="0"/>
          </a:p>
          <a:p>
            <a:r>
              <a:rPr lang="en-GB" sz="3200" dirty="0"/>
              <a:t>Letter of Intent (</a:t>
            </a:r>
            <a:r>
              <a:rPr lang="en-GB" sz="3200" dirty="0" err="1"/>
              <a:t>LoI</a:t>
            </a:r>
            <a:r>
              <a:rPr lang="it-IT" sz="3200" dirty="0"/>
              <a:t>)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93393816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DA158067-1960-46D9-B252-698D885A9AF2}" vid="{BB210AEC-30C4-4D33-A9D7-92281B8595B6}"/>
    </a:ext>
  </a:extLst>
</a:theme>
</file>

<file path=ppt/theme/theme2.xml><?xml version="1.0" encoding="utf-8"?>
<a:theme xmlns:a="http://schemas.openxmlformats.org/drawingml/2006/main" name="1_Deloitte Presentation Template 2016 CZ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DA158067-1960-46D9-B252-698D885A9AF2}" vid="{7E8ADBEA-8125-4DC2-8F4A-7EC1901D8510}"/>
    </a:ext>
  </a:extLst>
</a:theme>
</file>

<file path=ppt/theme/theme3.xml><?xml version="1.0" encoding="utf-8"?>
<a:theme xmlns:a="http://schemas.openxmlformats.org/drawingml/2006/main" name="2_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AA466677-0B70-4394-B835-6CA7B7CDD7F2}" vid="{26659DEE-6644-4940-8E86-154061B6F50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ppt/theme/themeOverride2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ppt/theme/themeOverride3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3839E2485F14849BF17EAC021F2B0AB" ma:contentTypeVersion="9" ma:contentTypeDescription="Create a new document." ma:contentTypeScope="" ma:versionID="b13d3d8e0865196c6e5f8615a6f6817e">
  <xsd:schema xmlns:xsd="http://www.w3.org/2001/XMLSchema" xmlns:xs="http://www.w3.org/2001/XMLSchema" xmlns:p="http://schemas.microsoft.com/office/2006/metadata/properties" xmlns:ns2="773eaad9-340a-4574-907e-8d7109ca9488" xmlns:ns3="abcf9ee2-6e93-4c65-873a-c2359e6dbfb2" targetNamespace="http://schemas.microsoft.com/office/2006/metadata/properties" ma:root="true" ma:fieldsID="ce39ee399f4f89ce4e3f855741260029" ns2:_="" ns3:_="">
    <xsd:import namespace="773eaad9-340a-4574-907e-8d7109ca9488"/>
    <xsd:import namespace="abcf9ee2-6e93-4c65-873a-c2359e6dbf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3eaad9-340a-4574-907e-8d7109ca948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cf9ee2-6e93-4c65-873a-c2359e6dbfb2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E8BABDD-D204-43E5-ABE2-92F7DE3017EF}">
  <ds:schemaRefs>
    <ds:schemaRef ds:uri="http://schemas.microsoft.com/office/2006/metadata/properties"/>
    <ds:schemaRef ds:uri="773eaad9-340a-4574-907e-8d7109ca9488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2EBC465-C347-43F7-823C-1B58F1F4E8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73eaad9-340a-4574-907e-8d7109ca9488"/>
    <ds:schemaRef ds:uri="abcf9ee2-6e93-4c65-873a-c2359e6dbf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B5F749A-0D62-44A0-B92C-5788FBC8301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464</TotalTime>
  <Words>2778</Words>
  <Application>Microsoft Office PowerPoint</Application>
  <PresentationFormat>On-screen Show (4:3)</PresentationFormat>
  <Paragraphs>195</Paragraphs>
  <Slides>2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6" baseType="lpstr">
      <vt:lpstr>Arial</vt:lpstr>
      <vt:lpstr>Verdana</vt:lpstr>
      <vt:lpstr>1_Deloitte Presentation Template 2016 ENG</vt:lpstr>
      <vt:lpstr>1_Deloitte Presentation Template 2016 CZE</vt:lpstr>
      <vt:lpstr>2_Deloitte Presentation Template 2016 ENG</vt:lpstr>
      <vt:lpstr>think-cell Slide</vt:lpstr>
      <vt:lpstr>PowerPoint Presentation</vt:lpstr>
      <vt:lpstr>Osnova semináře</vt:lpstr>
      <vt:lpstr>Před-transakční smlouvy  v akvizičních transakcích</vt:lpstr>
      <vt:lpstr>Před-transakční smlouvy v akvizičních transakcích</vt:lpstr>
      <vt:lpstr>Před-transakční smlouvy v akvizičních transakcích</vt:lpstr>
      <vt:lpstr>Před-transakční smlouvy v akvizičních transakcích</vt:lpstr>
      <vt:lpstr>Před-transakční smlouvy v akvizičních transakcích</vt:lpstr>
      <vt:lpstr>Před-transakční smlouvy v akvizičních transakcích</vt:lpstr>
      <vt:lpstr>Před-transakční smlouvy     v akvizičních transakcích</vt:lpstr>
      <vt:lpstr>Před-transakční smlouvy v akvizičních transakcích</vt:lpstr>
      <vt:lpstr>Před-transakční smlouvy v akvizičních transakcích</vt:lpstr>
      <vt:lpstr>Před-transakční smlouvy v akvizičních transakcích</vt:lpstr>
      <vt:lpstr>Obchodní společnost jako objekt akvizičních transakcí</vt:lpstr>
      <vt:lpstr>Obchodní společnost - objekt akvizičních transakcí</vt:lpstr>
      <vt:lpstr>Obchodní společnost - objekt akvizičních transakcí</vt:lpstr>
      <vt:lpstr>Obchodní společnost - objekt akvizičních transakcí</vt:lpstr>
      <vt:lpstr>Obchodní společnost - objekt akvizičních transakcí</vt:lpstr>
      <vt:lpstr>Obchodní společnost - objekt akvizičních transakcí</vt:lpstr>
      <vt:lpstr>Obchodní společnost - objekt akvizičních transakcí</vt:lpstr>
      <vt:lpstr>Děkujeme.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chy, Petr (CZ - Prague)</dc:creator>
  <cp:lastModifiedBy>Suchy, Petr</cp:lastModifiedBy>
  <cp:revision>271</cp:revision>
  <cp:lastPrinted>2020-02-18T10:42:39Z</cp:lastPrinted>
  <dcterms:created xsi:type="dcterms:W3CDTF">2018-03-10T11:01:20Z</dcterms:created>
  <dcterms:modified xsi:type="dcterms:W3CDTF">2022-10-02T16:27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839E2485F14849BF17EAC021F2B0AB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2-20T11:15:24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ea35020d-298c-48ec-a5a9-3637fd13f934</vt:lpwstr>
  </property>
  <property fmtid="{D5CDD505-2E9C-101B-9397-08002B2CF9AE}" pid="9" name="MSIP_Label_ea60d57e-af5b-4752-ac57-3e4f28ca11dc_ContentBits">
    <vt:lpwstr>0</vt:lpwstr>
  </property>
</Properties>
</file>